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61" r:id="rId3"/>
    <p:sldId id="263" r:id="rId4"/>
    <p:sldId id="257" r:id="rId5"/>
    <p:sldId id="258" r:id="rId6"/>
    <p:sldId id="262" r:id="rId7"/>
    <p:sldId id="267" r:id="rId8"/>
    <p:sldId id="268" r:id="rId9"/>
    <p:sldId id="265" r:id="rId10"/>
    <p:sldId id="264" r:id="rId11"/>
    <p:sldId id="259" r:id="rId12"/>
    <p:sldId id="260" r:id="rId13"/>
    <p:sldId id="266" r:id="rId14"/>
  </p:sldIdLst>
  <p:sldSz cx="12192000" cy="6858000"/>
  <p:notesSz cx="9926638" cy="14352588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28" autoAdjust="0"/>
    <p:restoredTop sz="96374" autoAdjust="0"/>
  </p:normalViewPr>
  <p:slideViewPr>
    <p:cSldViewPr snapToGrid="0">
      <p:cViewPr varScale="1">
        <p:scale>
          <a:sx n="102" d="100"/>
          <a:sy n="102" d="100"/>
        </p:scale>
        <p:origin x="132" y="21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45C31CF2-1399-41FB-A23F-5E22D0A16E7E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?</a:t>
          </a:r>
          <a:endParaRPr lang="en-US" dirty="0"/>
        </a:p>
      </dgm:t>
    </dgm:pt>
    <dgm:pt modelId="{791B3165-ABE6-4D91-831A-7C0D48536531}" type="parTrans" cxnId="{BAFE704A-CCAE-41E0-B9F4-9057CC0EE882}">
      <dgm:prSet/>
      <dgm:spPr/>
      <dgm:t>
        <a:bodyPr/>
        <a:lstStyle/>
        <a:p>
          <a:endParaRPr lang="en-US"/>
        </a:p>
      </dgm:t>
    </dgm:pt>
    <dgm:pt modelId="{8D732E18-7D0B-454B-9DB2-D78927E8ECE7}" type="sibTrans" cxnId="{BAFE704A-CCAE-41E0-B9F4-9057CC0EE882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 (Stand Technik, Theorie)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 3 (Problem </a:t>
          </a:r>
          <a:r>
            <a:rPr lang="de-DE" dirty="0" err="1"/>
            <a:t>statement</a:t>
          </a:r>
          <a:r>
            <a:rPr lang="de-DE" dirty="0"/>
            <a:t>)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 err="1"/>
            <a:t>Precise</a:t>
          </a:r>
          <a:r>
            <a:rPr lang="de-DE" dirty="0"/>
            <a:t> </a:t>
          </a:r>
          <a:r>
            <a:rPr lang="de-DE" dirty="0" err="1"/>
            <a:t>detection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malfunctions</a:t>
          </a:r>
          <a:r>
            <a:rPr lang="de-DE" dirty="0"/>
            <a:t> and </a:t>
          </a:r>
          <a:r>
            <a:rPr lang="de-DE" dirty="0" err="1"/>
            <a:t>perturbances</a:t>
          </a:r>
          <a:endParaRPr lang="en-US" dirty="0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/>
            <a:t>Reporting </a:t>
          </a:r>
          <a:r>
            <a:rPr lang="de-DE" dirty="0" err="1"/>
            <a:t>tool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displays</a:t>
          </a:r>
          <a:r>
            <a:rPr lang="de-DE" dirty="0"/>
            <a:t> relevant </a:t>
          </a:r>
          <a:r>
            <a:rPr lang="de-DE" dirty="0" err="1"/>
            <a:t>info</a:t>
          </a:r>
          <a:r>
            <a:rPr lang="de-DE" dirty="0"/>
            <a:t> and </a:t>
          </a:r>
          <a:r>
            <a:rPr lang="de-DE" dirty="0" err="1"/>
            <a:t>generates</a:t>
          </a:r>
          <a:r>
            <a:rPr lang="de-DE" dirty="0"/>
            <a:t> </a:t>
          </a:r>
          <a:r>
            <a:rPr lang="de-DE" dirty="0" err="1"/>
            <a:t>metrics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FA48B597-83D3-4C01-A8E3-D795138E9701}">
      <dgm:prSet phldrT="[Text]"/>
      <dgm:spPr/>
      <dgm:t>
        <a:bodyPr/>
        <a:lstStyle/>
        <a:p>
          <a:r>
            <a:rPr lang="de-DE" dirty="0" err="1"/>
            <a:t>Why</a:t>
          </a:r>
          <a:r>
            <a:rPr lang="de-DE" dirty="0"/>
            <a:t>?</a:t>
          </a:r>
          <a:endParaRPr lang="en-US" dirty="0"/>
        </a:p>
      </dgm:t>
    </dgm:pt>
    <dgm:pt modelId="{EACD600F-7B5E-4F4B-8FE7-7F95695C04AC}" type="parTrans" cxnId="{D95F2D8A-855D-476E-B82C-06B65BB57748}">
      <dgm:prSet/>
      <dgm:spPr/>
      <dgm:t>
        <a:bodyPr/>
        <a:lstStyle/>
        <a:p>
          <a:endParaRPr lang="en-US"/>
        </a:p>
      </dgm:t>
    </dgm:pt>
    <dgm:pt modelId="{76C20D21-071E-40EA-8907-304A6EA2D201}" type="sibTrans" cxnId="{D95F2D8A-855D-476E-B82C-06B65BB57748}">
      <dgm:prSet/>
      <dgm:spPr/>
      <dgm:t>
        <a:bodyPr/>
        <a:lstStyle/>
        <a:p>
          <a:endParaRPr lang="en-US"/>
        </a:p>
      </dgm:t>
    </dgm:pt>
    <dgm:pt modelId="{16F57EB3-4270-46BB-88A7-10CC9C3D84A2}">
      <dgm:prSet phldrT="[Text]"/>
      <dgm:spPr/>
      <dgm:t>
        <a:bodyPr/>
        <a:lstStyle/>
        <a:p>
          <a:r>
            <a:rPr lang="de-DE" dirty="0"/>
            <a:t>Origin?</a:t>
          </a:r>
          <a:endParaRPr lang="en-US" dirty="0"/>
        </a:p>
      </dgm:t>
    </dgm:pt>
    <dgm:pt modelId="{5E5EEE3E-96EC-41B1-847D-72D615A9187C}" type="parTrans" cxnId="{06C3F8B6-6350-4E40-839B-F14A7E50374A}">
      <dgm:prSet/>
      <dgm:spPr/>
      <dgm:t>
        <a:bodyPr/>
        <a:lstStyle/>
        <a:p>
          <a:endParaRPr lang="en-US"/>
        </a:p>
      </dgm:t>
    </dgm:pt>
    <dgm:pt modelId="{897C9165-AD4A-4F4D-97D0-D8C8BC61FEB0}" type="sibTrans" cxnId="{06C3F8B6-6350-4E40-839B-F14A7E50374A}">
      <dgm:prSet/>
      <dgm:spPr/>
      <dgm:t>
        <a:bodyPr/>
        <a:lstStyle/>
        <a:p>
          <a:endParaRPr lang="en-US"/>
        </a:p>
      </dgm:t>
    </dgm:pt>
    <dgm:pt modelId="{DFC29465-D683-4C36-8F69-F44119F668DC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?</a:t>
          </a:r>
          <a:endParaRPr lang="en-US" dirty="0"/>
        </a:p>
      </dgm:t>
    </dgm:pt>
    <dgm:pt modelId="{8E7C05B2-EF1C-4971-8F55-3BF79ABA7E81}" type="parTrans" cxnId="{5F1EE348-C4A8-4B89-8439-8CE96D4EE585}">
      <dgm:prSet/>
      <dgm:spPr/>
      <dgm:t>
        <a:bodyPr/>
        <a:lstStyle/>
        <a:p>
          <a:endParaRPr lang="en-US"/>
        </a:p>
      </dgm:t>
    </dgm:pt>
    <dgm:pt modelId="{2C9E4EA8-B922-4CD1-8C7E-738D1E9D46E9}" type="sibTrans" cxnId="{5F1EE348-C4A8-4B89-8439-8CE96D4EE585}">
      <dgm:prSet/>
      <dgm:spPr/>
      <dgm:t>
        <a:bodyPr/>
        <a:lstStyle/>
        <a:p>
          <a:endParaRPr lang="en-US"/>
        </a:p>
      </dgm:t>
    </dgm:pt>
    <dgm:pt modelId="{8D5AA78A-7D4A-459F-A2B3-FC480199B0C4}">
      <dgm:prSet phldrT="[Text]"/>
      <dgm:spPr/>
      <dgm:t>
        <a:bodyPr/>
        <a:lstStyle/>
        <a:p>
          <a:r>
            <a:rPr lang="de-DE" dirty="0" err="1"/>
            <a:t>Context</a:t>
          </a:r>
          <a:r>
            <a:rPr lang="de-DE" dirty="0"/>
            <a:t>?</a:t>
          </a:r>
          <a:endParaRPr lang="en-US" dirty="0"/>
        </a:p>
      </dgm:t>
    </dgm:pt>
    <dgm:pt modelId="{230B062B-D34E-4F36-9471-0560F7C0F869}" type="parTrans" cxnId="{4737E504-3D54-463C-A5F7-8445C73AA300}">
      <dgm:prSet/>
      <dgm:spPr/>
      <dgm:t>
        <a:bodyPr/>
        <a:lstStyle/>
        <a:p>
          <a:endParaRPr lang="en-US"/>
        </a:p>
      </dgm:t>
    </dgm:pt>
    <dgm:pt modelId="{829C1AD4-F788-4CDC-BAB0-E26F39962F70}" type="sibTrans" cxnId="{4737E504-3D54-463C-A5F7-8445C73AA300}">
      <dgm:prSet/>
      <dgm:spPr/>
      <dgm:t>
        <a:bodyPr/>
        <a:lstStyle/>
        <a:p>
          <a:endParaRPr lang="en-US"/>
        </a:p>
      </dgm:t>
    </dgm:pt>
    <dgm:pt modelId="{53442A40-DC6D-4245-A773-62D61FA4FF00}">
      <dgm:prSet phldrT="[Text]"/>
      <dgm:spPr/>
      <dgm:t>
        <a:bodyPr/>
        <a:lstStyle/>
        <a:p>
          <a:r>
            <a:rPr lang="de-DE" dirty="0"/>
            <a:t>Check ISTAR Data</a:t>
          </a:r>
          <a:endParaRPr lang="en-US" dirty="0"/>
        </a:p>
      </dgm:t>
    </dgm:pt>
    <dgm:pt modelId="{97DFBC2D-61B8-4D10-8597-D96ECFFF14D0}" type="parTrans" cxnId="{46FB17A0-0C8F-4487-9466-EF8F49B56BAA}">
      <dgm:prSet/>
      <dgm:spPr/>
      <dgm:t>
        <a:bodyPr/>
        <a:lstStyle/>
        <a:p>
          <a:endParaRPr lang="en-US"/>
        </a:p>
      </dgm:t>
    </dgm:pt>
    <dgm:pt modelId="{48919ADF-3969-41A4-AF73-8B129056DB3C}" type="sibTrans" cxnId="{46FB17A0-0C8F-4487-9466-EF8F49B56BAA}">
      <dgm:prSet/>
      <dgm:spPr/>
      <dgm:t>
        <a:bodyPr/>
        <a:lstStyle/>
        <a:p>
          <a:endParaRPr lang="en-US"/>
        </a:p>
      </dgm:t>
    </dgm:pt>
    <dgm:pt modelId="{EB261159-4417-4EDF-9578-418CC1861B93}">
      <dgm:prSet phldrT="[Text]"/>
      <dgm:spPr/>
      <dgm:t>
        <a:bodyPr/>
        <a:lstStyle/>
        <a:p>
          <a:r>
            <a:rPr lang="de-DE" dirty="0" err="1"/>
            <a:t>Costly</a:t>
          </a:r>
          <a:r>
            <a:rPr lang="de-DE" dirty="0"/>
            <a:t> </a:t>
          </a:r>
          <a:r>
            <a:rPr lang="de-DE" dirty="0" err="1"/>
            <a:t>mistakes</a:t>
          </a:r>
          <a:r>
            <a:rPr lang="de-DE" dirty="0"/>
            <a:t>/faults</a:t>
          </a:r>
          <a:endParaRPr lang="en-US" dirty="0"/>
        </a:p>
      </dgm:t>
    </dgm:pt>
    <dgm:pt modelId="{85186BA2-08AA-42AD-85A4-607BB4E825BD}" type="parTrans" cxnId="{48EFA180-2257-407B-B041-66AB80388EC1}">
      <dgm:prSet/>
      <dgm:spPr/>
      <dgm:t>
        <a:bodyPr/>
        <a:lstStyle/>
        <a:p>
          <a:endParaRPr lang="en-US"/>
        </a:p>
      </dgm:t>
    </dgm:pt>
    <dgm:pt modelId="{E69BFEAD-CF9B-4475-AF8F-172CAE38E14A}" type="sibTrans" cxnId="{48EFA180-2257-407B-B041-66AB80388EC1}">
      <dgm:prSet/>
      <dgm:spPr/>
      <dgm:t>
        <a:bodyPr/>
        <a:lstStyle/>
        <a:p>
          <a:endParaRPr lang="en-US"/>
        </a:p>
      </dgm:t>
    </dgm:pt>
    <dgm:pt modelId="{8DD704C5-97CB-49C7-8BD8-7DFD53E5A85D}">
      <dgm:prSet phldrT="[Text]"/>
      <dgm:spPr/>
      <dgm:t>
        <a:bodyPr/>
        <a:lstStyle/>
        <a:p>
          <a:r>
            <a:rPr lang="de-DE" dirty="0" err="1"/>
            <a:t>Better</a:t>
          </a:r>
          <a:r>
            <a:rPr lang="de-DE" dirty="0"/>
            <a:t> </a:t>
          </a:r>
          <a:r>
            <a:rPr lang="de-DE" dirty="0" err="1"/>
            <a:t>overview</a:t>
          </a:r>
          <a:endParaRPr lang="en-US" dirty="0"/>
        </a:p>
      </dgm:t>
    </dgm:pt>
    <dgm:pt modelId="{10147ECD-7824-4C30-9D9A-80EC11DE2C1F}" type="parTrans" cxnId="{21280E3C-CFDB-4E5F-AF5C-981DB18F156F}">
      <dgm:prSet/>
      <dgm:spPr/>
      <dgm:t>
        <a:bodyPr/>
        <a:lstStyle/>
        <a:p>
          <a:endParaRPr lang="en-US"/>
        </a:p>
      </dgm:t>
    </dgm:pt>
    <dgm:pt modelId="{4C49D811-A998-42DE-9601-58840493D7F7}" type="sibTrans" cxnId="{21280E3C-CFDB-4E5F-AF5C-981DB18F156F}">
      <dgm:prSet/>
      <dgm:spPr/>
      <dgm:t>
        <a:bodyPr/>
        <a:lstStyle/>
        <a:p>
          <a:endParaRPr lang="en-US"/>
        </a:p>
      </dgm:t>
    </dgm:pt>
    <dgm:pt modelId="{F3664F82-0936-47D7-B58D-C7B8B5377A6D}">
      <dgm:prSet phldrT="[Text]"/>
      <dgm:spPr/>
      <dgm:t>
        <a:bodyPr/>
        <a:lstStyle/>
        <a:p>
          <a:r>
            <a:rPr lang="de-DE" dirty="0"/>
            <a:t>Quicker </a:t>
          </a:r>
          <a:r>
            <a:rPr lang="de-DE" dirty="0" err="1"/>
            <a:t>reaction</a:t>
          </a:r>
          <a:r>
            <a:rPr lang="de-DE" dirty="0"/>
            <a:t> time</a:t>
          </a:r>
          <a:endParaRPr lang="en-US" dirty="0"/>
        </a:p>
      </dgm:t>
    </dgm:pt>
    <dgm:pt modelId="{E04FFDE5-2B04-4FBF-B737-844533150FF5}" type="parTrans" cxnId="{4B654A20-4398-4D51-9869-A492E1CE0C8E}">
      <dgm:prSet/>
      <dgm:spPr/>
      <dgm:t>
        <a:bodyPr/>
        <a:lstStyle/>
        <a:p>
          <a:endParaRPr lang="en-US"/>
        </a:p>
      </dgm:t>
    </dgm:pt>
    <dgm:pt modelId="{D2E4712A-1486-418A-A337-6F7D377E82F2}" type="sibTrans" cxnId="{4B654A20-4398-4D51-9869-A492E1CE0C8E}">
      <dgm:prSet/>
      <dgm:spPr/>
      <dgm:t>
        <a:bodyPr/>
        <a:lstStyle/>
        <a:p>
          <a:endParaRPr lang="en-US"/>
        </a:p>
      </dgm:t>
    </dgm:pt>
    <dgm:pt modelId="{BE197881-79D2-48A4-A7A7-50E4BBA5EC56}">
      <dgm:prSet phldrT="[Text]"/>
      <dgm:spPr/>
      <dgm:t>
        <a:bodyPr/>
        <a:lstStyle/>
        <a:p>
          <a:r>
            <a:rPr lang="de-DE" dirty="0"/>
            <a:t>Fulfillment FAIR (quick </a:t>
          </a:r>
          <a:r>
            <a:rPr lang="de-DE" dirty="0" err="1"/>
            <a:t>overview</a:t>
          </a:r>
          <a:r>
            <a:rPr lang="de-DE" dirty="0"/>
            <a:t>)</a:t>
          </a:r>
          <a:endParaRPr lang="en-US" dirty="0"/>
        </a:p>
      </dgm:t>
    </dgm:pt>
    <dgm:pt modelId="{EF095EC5-3D7B-401B-9289-F7EF5276F4BE}" type="parTrans" cxnId="{2754D1A1-55DA-4FC4-A4CC-0249AA9C7352}">
      <dgm:prSet/>
      <dgm:spPr/>
      <dgm:t>
        <a:bodyPr/>
        <a:lstStyle/>
        <a:p>
          <a:endParaRPr lang="en-US"/>
        </a:p>
      </dgm:t>
    </dgm:pt>
    <dgm:pt modelId="{AFECBCC4-086F-4E66-A9E5-276799467B71}" type="sibTrans" cxnId="{2754D1A1-55DA-4FC4-A4CC-0249AA9C7352}">
      <dgm:prSet/>
      <dgm:spPr/>
      <dgm:t>
        <a:bodyPr/>
        <a:lstStyle/>
        <a:p>
          <a:endParaRPr lang="en-US"/>
        </a:p>
      </dgm:t>
    </dgm:pt>
    <dgm:pt modelId="{EF02E60D-9730-4861-B91D-795411970304}">
      <dgm:prSet phldrT="[Text]"/>
      <dgm:spPr/>
      <dgm:t>
        <a:bodyPr/>
        <a:lstStyle/>
        <a:p>
          <a:r>
            <a:rPr lang="de-DE" dirty="0" err="1"/>
            <a:t>Safety</a:t>
          </a:r>
          <a:r>
            <a:rPr lang="de-DE" dirty="0"/>
            <a:t> </a:t>
          </a:r>
          <a:r>
            <a:rPr lang="de-DE" dirty="0" err="1"/>
            <a:t>critical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</a:t>
          </a:r>
          <a:r>
            <a:rPr lang="de-DE" dirty="0" err="1"/>
            <a:t>may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reported</a:t>
          </a:r>
          <a:endParaRPr lang="en-US" dirty="0"/>
        </a:p>
      </dgm:t>
    </dgm:pt>
    <dgm:pt modelId="{3C1D29AB-7B2F-4698-8C49-AD472A650004}" type="parTrans" cxnId="{4530A9A5-4327-4574-9EAD-FB338AF9E428}">
      <dgm:prSet/>
      <dgm:spPr/>
      <dgm:t>
        <a:bodyPr/>
        <a:lstStyle/>
        <a:p>
          <a:endParaRPr lang="en-US"/>
        </a:p>
      </dgm:t>
    </dgm:pt>
    <dgm:pt modelId="{12A0D01B-B581-46C4-81BD-D07A72A25ECA}" type="sibTrans" cxnId="{4530A9A5-4327-4574-9EAD-FB338AF9E428}">
      <dgm:prSet/>
      <dgm:spPr/>
      <dgm:t>
        <a:bodyPr/>
        <a:lstStyle/>
        <a:p>
          <a:endParaRPr lang="en-US"/>
        </a:p>
      </dgm:t>
    </dgm:pt>
    <dgm:pt modelId="{F4858A09-2FDD-40AB-8160-4019202740F5}">
      <dgm:prSet phldrT="[Text]"/>
      <dgm:spPr/>
      <dgm:t>
        <a:bodyPr/>
        <a:lstStyle/>
        <a:p>
          <a:r>
            <a:rPr lang="de-DE" dirty="0"/>
            <a:t>ISTAR DAQ</a:t>
          </a:r>
          <a:endParaRPr lang="en-US" dirty="0"/>
        </a:p>
      </dgm:t>
    </dgm:pt>
    <dgm:pt modelId="{BA86D88A-1263-4E46-95FB-83E3CBECA2B3}" type="parTrans" cxnId="{77469C66-3F2E-4055-8137-50ECC9EEC8B4}">
      <dgm:prSet/>
      <dgm:spPr/>
      <dgm:t>
        <a:bodyPr/>
        <a:lstStyle/>
        <a:p>
          <a:endParaRPr lang="en-US"/>
        </a:p>
      </dgm:t>
    </dgm:pt>
    <dgm:pt modelId="{B3797B33-F820-4B26-95AF-28A0004FAFCB}" type="sibTrans" cxnId="{77469C66-3F2E-4055-8137-50ECC9EEC8B4}">
      <dgm:prSet/>
      <dgm:spPr/>
      <dgm:t>
        <a:bodyPr/>
        <a:lstStyle/>
        <a:p>
          <a:endParaRPr lang="en-US"/>
        </a:p>
      </dgm:t>
    </dgm:pt>
    <dgm:pt modelId="{13B68F89-F137-45DB-86DA-C63A8CA15A64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sensors</a:t>
          </a:r>
          <a:endParaRPr lang="en-US" dirty="0"/>
        </a:p>
      </dgm:t>
    </dgm:pt>
    <dgm:pt modelId="{03104342-7A42-481F-AEF8-FBF62DB42169}" type="parTrans" cxnId="{C804F8AB-9AD1-4E74-B559-687773158703}">
      <dgm:prSet/>
      <dgm:spPr/>
      <dgm:t>
        <a:bodyPr/>
        <a:lstStyle/>
        <a:p>
          <a:endParaRPr lang="en-US"/>
        </a:p>
      </dgm:t>
    </dgm:pt>
    <dgm:pt modelId="{4C4E09B9-59CB-40A4-8595-5BEBE5A042DC}" type="sibTrans" cxnId="{C804F8AB-9AD1-4E74-B559-687773158703}">
      <dgm:prSet/>
      <dgm:spPr/>
      <dgm:t>
        <a:bodyPr/>
        <a:lstStyle/>
        <a:p>
          <a:endParaRPr lang="en-US"/>
        </a:p>
      </dgm:t>
    </dgm:pt>
    <dgm:pt modelId="{4246D174-BED3-48D1-8689-7D4D319BDC60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formats</a:t>
          </a:r>
          <a:r>
            <a:rPr lang="de-DE" dirty="0"/>
            <a:t>/</a:t>
          </a:r>
          <a:r>
            <a:rPr lang="de-DE" dirty="0" err="1"/>
            <a:t>sources</a:t>
          </a:r>
          <a:endParaRPr lang="en-US" dirty="0"/>
        </a:p>
      </dgm:t>
    </dgm:pt>
    <dgm:pt modelId="{5C6652BE-C0FD-462E-BD53-991D51789DD9}" type="parTrans" cxnId="{A64D8416-2501-4D07-80BB-9D26169C65BD}">
      <dgm:prSet/>
      <dgm:spPr/>
      <dgm:t>
        <a:bodyPr/>
        <a:lstStyle/>
        <a:p>
          <a:endParaRPr lang="en-US"/>
        </a:p>
      </dgm:t>
    </dgm:pt>
    <dgm:pt modelId="{F9DD583A-2CE0-4C52-A757-753FE5645D26}" type="sibTrans" cxnId="{A64D8416-2501-4D07-80BB-9D26169C65BD}">
      <dgm:prSet/>
      <dgm:spPr/>
      <dgm:t>
        <a:bodyPr/>
        <a:lstStyle/>
        <a:p>
          <a:endParaRPr lang="en-US"/>
        </a:p>
      </dgm:t>
    </dgm:pt>
    <dgm:pt modelId="{28207CCF-995B-40F9-99AF-F0C74A76096F}">
      <dgm:prSet phldrT="[Text]"/>
      <dgm:spPr/>
      <dgm:t>
        <a:bodyPr/>
        <a:lstStyle/>
        <a:p>
          <a:r>
            <a:rPr lang="de-DE" dirty="0" err="1"/>
            <a:t>Proposal</a:t>
          </a:r>
          <a:r>
            <a:rPr lang="de-DE" dirty="0"/>
            <a:t> SHM</a:t>
          </a:r>
          <a:endParaRPr lang="en-US" dirty="0"/>
        </a:p>
      </dgm:t>
    </dgm:pt>
    <dgm:pt modelId="{E313DF2E-AE2F-458D-B0CD-6E4B75CAE50E}" type="parTrans" cxnId="{9A538BC4-19DB-4F26-9C83-9A156D009D69}">
      <dgm:prSet/>
      <dgm:spPr/>
      <dgm:t>
        <a:bodyPr/>
        <a:lstStyle/>
        <a:p>
          <a:endParaRPr lang="en-US"/>
        </a:p>
      </dgm:t>
    </dgm:pt>
    <dgm:pt modelId="{C1CFB77C-F10A-47D5-A0E9-00909CB76B07}" type="sibTrans" cxnId="{9A538BC4-19DB-4F26-9C83-9A156D009D69}">
      <dgm:prSet/>
      <dgm:spPr/>
      <dgm:t>
        <a:bodyPr/>
        <a:lstStyle/>
        <a:p>
          <a:endParaRPr lang="en-US"/>
        </a:p>
      </dgm:t>
    </dgm:pt>
    <dgm:pt modelId="{21F139D4-2183-4298-B18B-3E7EDBDE255D}">
      <dgm:prSet phldrT="[Text]"/>
      <dgm:spPr/>
      <dgm:t>
        <a:bodyPr/>
        <a:lstStyle/>
        <a:p>
          <a:r>
            <a:rPr lang="de-DE" dirty="0" err="1"/>
            <a:t>Detect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and report </a:t>
          </a:r>
          <a:r>
            <a:rPr lang="de-DE" dirty="0" err="1"/>
            <a:t>them</a:t>
          </a:r>
          <a:endParaRPr lang="en-US" dirty="0"/>
        </a:p>
      </dgm:t>
    </dgm:pt>
    <dgm:pt modelId="{39929664-3E48-4CA5-9AAC-E39839CC46DE}" type="parTrans" cxnId="{642C73B6-C83F-489A-B24C-4FB1BCE2B1E3}">
      <dgm:prSet/>
      <dgm:spPr/>
      <dgm:t>
        <a:bodyPr/>
        <a:lstStyle/>
        <a:p>
          <a:endParaRPr lang="en-US"/>
        </a:p>
      </dgm:t>
    </dgm:pt>
    <dgm:pt modelId="{63FAE004-53F4-487B-A1DD-A23BAD934C42}" type="sibTrans" cxnId="{642C73B6-C83F-489A-B24C-4FB1BCE2B1E3}">
      <dgm:prSet/>
      <dgm:spPr/>
      <dgm:t>
        <a:bodyPr/>
        <a:lstStyle/>
        <a:p>
          <a:endParaRPr lang="en-US"/>
        </a:p>
      </dgm:t>
    </dgm:pt>
    <dgm:pt modelId="{C21F88A4-D9B8-478A-A455-070240937F2A}">
      <dgm:prSet phldrT="[Text]"/>
      <dgm:spPr/>
      <dgm:t>
        <a:bodyPr/>
        <a:lstStyle/>
        <a:p>
          <a:r>
            <a:rPr lang="de-DE" dirty="0" err="1"/>
            <a:t>Holistic</a:t>
          </a:r>
          <a:r>
            <a:rPr lang="de-DE" dirty="0"/>
            <a:t> </a:t>
          </a:r>
          <a:r>
            <a:rPr lang="de-DE" dirty="0" err="1"/>
            <a:t>system</a:t>
          </a:r>
          <a:r>
            <a:rPr lang="de-DE" dirty="0"/>
            <a:t> </a:t>
          </a:r>
          <a:r>
            <a:rPr lang="de-DE" dirty="0" err="1"/>
            <a:t>view</a:t>
          </a:r>
          <a:endParaRPr lang="en-US" dirty="0"/>
        </a:p>
      </dgm:t>
    </dgm:pt>
    <dgm:pt modelId="{9BC5260A-78F7-4ACF-B8A5-BAB4040E1FE1}" type="parTrans" cxnId="{4791821A-7C09-4507-B57B-B04140DE59F0}">
      <dgm:prSet/>
      <dgm:spPr/>
      <dgm:t>
        <a:bodyPr/>
        <a:lstStyle/>
        <a:p>
          <a:endParaRPr lang="en-US"/>
        </a:p>
      </dgm:t>
    </dgm:pt>
    <dgm:pt modelId="{7C4D3CDD-DC29-4A9C-B614-50B88CF5CFC4}" type="sibTrans" cxnId="{4791821A-7C09-4507-B57B-B04140DE59F0}">
      <dgm:prSet/>
      <dgm:spPr/>
      <dgm:t>
        <a:bodyPr/>
        <a:lstStyle/>
        <a:p>
          <a:endParaRPr lang="en-US"/>
        </a:p>
      </dgm:t>
    </dgm:pt>
    <dgm:pt modelId="{34552BE1-F0CE-4CD9-BCE7-84BEC049EEDF}">
      <dgm:prSet phldrT="[Text]"/>
      <dgm:spPr/>
      <dgm:t>
        <a:bodyPr/>
        <a:lstStyle/>
        <a:p>
          <a:r>
            <a:rPr lang="de-DE" dirty="0"/>
            <a:t>SHM </a:t>
          </a:r>
          <a:r>
            <a:rPr lang="de-DE" dirty="0" err="1"/>
            <a:t>as</a:t>
          </a:r>
          <a:r>
            <a:rPr lang="de-DE" dirty="0"/>
            <a:t> </a:t>
          </a:r>
          <a:r>
            <a:rPr lang="de-DE" dirty="0" err="1"/>
            <a:t>par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an </a:t>
          </a:r>
          <a:r>
            <a:rPr lang="de-DE" dirty="0" err="1"/>
            <a:t>ecosystem</a:t>
          </a:r>
          <a:endParaRPr lang="en-US" dirty="0"/>
        </a:p>
      </dgm:t>
    </dgm:pt>
    <dgm:pt modelId="{0515CE9B-EA16-404E-BA11-E8A2216139E6}" type="parTrans" cxnId="{BDA943B8-4DC4-464D-9F20-30CD3AED3D2B}">
      <dgm:prSet/>
      <dgm:spPr/>
      <dgm:t>
        <a:bodyPr/>
        <a:lstStyle/>
        <a:p>
          <a:endParaRPr lang="en-US"/>
        </a:p>
      </dgm:t>
    </dgm:pt>
    <dgm:pt modelId="{674EEFC6-E96C-4A63-8028-824E621B1235}" type="sibTrans" cxnId="{BDA943B8-4DC4-464D-9F20-30CD3AED3D2B}">
      <dgm:prSet/>
      <dgm:spPr/>
      <dgm:t>
        <a:bodyPr/>
        <a:lstStyle/>
        <a:p>
          <a:endParaRPr lang="en-US"/>
        </a:p>
      </dgm:t>
    </dgm:pt>
    <dgm:pt modelId="{333D5B22-6E4D-4B63-A629-0D180A9EFACD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ingle</a:t>
          </a:r>
          <a:r>
            <a:rPr lang="de-DE" dirty="0"/>
            <a:t> </a:t>
          </a:r>
          <a:r>
            <a:rPr lang="de-DE" dirty="0" err="1"/>
            <a:t>components</a:t>
          </a:r>
          <a:endParaRPr lang="en-US" dirty="0"/>
        </a:p>
      </dgm:t>
    </dgm:pt>
    <dgm:pt modelId="{D381280E-ECA1-4266-AC7C-43CBDB906F08}" type="parTrans" cxnId="{FEAEC920-59F0-4A73-B132-AD6EC7CE1132}">
      <dgm:prSet/>
      <dgm:spPr/>
      <dgm:t>
        <a:bodyPr/>
        <a:lstStyle/>
        <a:p>
          <a:endParaRPr lang="en-US"/>
        </a:p>
      </dgm:t>
    </dgm:pt>
    <dgm:pt modelId="{017E5696-F1E5-44C0-8480-1583EA80C354}" type="sibTrans" cxnId="{FEAEC920-59F0-4A73-B132-AD6EC7CE1132}">
      <dgm:prSet/>
      <dgm:spPr/>
      <dgm:t>
        <a:bodyPr/>
        <a:lstStyle/>
        <a:p>
          <a:endParaRPr lang="en-US"/>
        </a:p>
      </dgm:t>
    </dgm:pt>
    <dgm:pt modelId="{58B88442-9808-4776-8ACE-3D22FCA8E49E}">
      <dgm:prSet phldrT="[Text]"/>
      <dgm:spPr/>
      <dgm:t>
        <a:bodyPr/>
        <a:lstStyle/>
        <a:p>
          <a:r>
            <a:rPr lang="de-DE" dirty="0" err="1"/>
            <a:t>interoperability</a:t>
          </a:r>
          <a:endParaRPr lang="en-US" dirty="0"/>
        </a:p>
      </dgm:t>
    </dgm:pt>
    <dgm:pt modelId="{F45ABCCE-7EB3-4DCF-BEA3-1EF13B3DCB62}" type="parTrans" cxnId="{0FD195FE-C592-436E-BF90-29E11DE429B4}">
      <dgm:prSet/>
      <dgm:spPr/>
      <dgm:t>
        <a:bodyPr/>
        <a:lstStyle/>
        <a:p>
          <a:endParaRPr lang="en-US"/>
        </a:p>
      </dgm:t>
    </dgm:pt>
    <dgm:pt modelId="{B27BC25E-346E-43CE-9C8D-E8CDAAF5EBB5}" type="sibTrans" cxnId="{0FD195FE-C592-436E-BF90-29E11DE429B4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Wer hat sowas schonmal gemacht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8C4BCE95-DBE2-491A-AF55-DEF5FAB9CAB2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did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do </a:t>
          </a:r>
          <a:r>
            <a:rPr lang="de-DE" dirty="0" err="1"/>
            <a:t>it</a:t>
          </a:r>
          <a:r>
            <a:rPr lang="de-DE" dirty="0"/>
            <a:t>?</a:t>
          </a:r>
          <a:endParaRPr lang="en-US" dirty="0"/>
        </a:p>
      </dgm:t>
    </dgm:pt>
    <dgm:pt modelId="{57B9127D-DAD4-4ABD-AF91-5F36D294ABED}" type="parTrans" cxnId="{D2C7CAC8-F891-4896-9FC9-564DD9F7F003}">
      <dgm:prSet/>
      <dgm:spPr/>
      <dgm:t>
        <a:bodyPr/>
        <a:lstStyle/>
        <a:p>
          <a:endParaRPr lang="en-US"/>
        </a:p>
      </dgm:t>
    </dgm:pt>
    <dgm:pt modelId="{65C21097-63D2-4163-8703-B701C48FB4E4}" type="sibTrans" cxnId="{D2C7CAC8-F891-4896-9FC9-564DD9F7F003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have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structured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/</a:t>
          </a:r>
          <a:r>
            <a:rPr lang="de-DE" dirty="0" err="1"/>
            <a:t>How</a:t>
          </a:r>
          <a:r>
            <a:rPr lang="de-DE" dirty="0"/>
            <a:t> do </a:t>
          </a:r>
          <a:r>
            <a:rPr lang="de-DE" dirty="0" err="1"/>
            <a:t>you</a:t>
          </a:r>
          <a:r>
            <a:rPr lang="de-DE" dirty="0"/>
            <a:t> </a:t>
          </a:r>
          <a:r>
            <a:rPr lang="de-DE" dirty="0" err="1"/>
            <a:t>ideally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 (</a:t>
          </a:r>
          <a:r>
            <a:rPr lang="de-DE" dirty="0" err="1"/>
            <a:t>data</a:t>
          </a:r>
          <a:r>
            <a:rPr lang="de-DE" dirty="0"/>
            <a:t> Handling)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4C5CEF2E-C3F6-4329-90E4-6B3F79B4FA16}">
      <dgm:prSet phldrT="[Text]"/>
      <dgm:spPr/>
      <dgm:t>
        <a:bodyPr/>
        <a:lstStyle/>
        <a:p>
          <a:r>
            <a:rPr lang="de-DE" dirty="0"/>
            <a:t>Wie macht man dann sowas</a:t>
          </a:r>
          <a:endParaRPr lang="en-US" dirty="0"/>
        </a:p>
      </dgm:t>
    </dgm:pt>
    <dgm:pt modelId="{A9012513-CC00-4748-BAF8-379192ADD9BF}" type="parTrans" cxnId="{687F5160-3827-44DE-AA01-EAB17E643999}">
      <dgm:prSet/>
      <dgm:spPr/>
      <dgm:t>
        <a:bodyPr/>
        <a:lstStyle/>
        <a:p>
          <a:endParaRPr lang="en-US"/>
        </a:p>
      </dgm:t>
    </dgm:pt>
    <dgm:pt modelId="{6EEEB7C0-D6D2-433C-BCAE-8BD03992BD92}" type="sibTrans" cxnId="{687F5160-3827-44DE-AA01-EAB17E643999}">
      <dgm:prSet/>
      <dgm:spPr/>
      <dgm:t>
        <a:bodyPr/>
        <a:lstStyle/>
        <a:p>
          <a:endParaRPr lang="en-US"/>
        </a:p>
      </dgm:t>
    </dgm:pt>
    <dgm:pt modelId="{E663F039-0D4F-487A-BB4E-5490196C0BCB}">
      <dgm:prSet phldrT="[Text]"/>
      <dgm:spPr/>
      <dgm:t>
        <a:bodyPr/>
        <a:lstStyle/>
        <a:p>
          <a:r>
            <a:rPr lang="de-DE" dirty="0"/>
            <a:t>Wie funktionieren die einzelnen Komponenten im Detail</a:t>
          </a:r>
          <a:endParaRPr lang="en-US" dirty="0"/>
        </a:p>
      </dgm:t>
    </dgm:pt>
    <dgm:pt modelId="{688AAE7A-3351-425D-9E09-930A8ED2FCD2}" type="parTrans" cxnId="{F6843022-46D8-4BE3-AF7C-C1005E534AAB}">
      <dgm:prSet/>
      <dgm:spPr/>
      <dgm:t>
        <a:bodyPr/>
        <a:lstStyle/>
        <a:p>
          <a:endParaRPr lang="en-US"/>
        </a:p>
      </dgm:t>
    </dgm:pt>
    <dgm:pt modelId="{3F717E84-E328-416B-AEA8-1FBFD7565F06}" type="sibTrans" cxnId="{F6843022-46D8-4BE3-AF7C-C1005E534AAB}">
      <dgm:prSet/>
      <dgm:spPr/>
      <dgm:t>
        <a:bodyPr/>
        <a:lstStyle/>
        <a:p>
          <a:endParaRPr lang="en-US"/>
        </a:p>
      </dgm:t>
    </dgm:pt>
    <dgm:pt modelId="{2EF03786-0E40-4942-9E4D-A13C64FDBF0E}">
      <dgm:prSet phldrT="[Text]"/>
      <dgm:spPr/>
      <dgm:t>
        <a:bodyPr/>
        <a:lstStyle/>
        <a:p>
          <a:r>
            <a:rPr lang="de-DE" dirty="0"/>
            <a:t>Wie leitet man es her?</a:t>
          </a:r>
          <a:endParaRPr lang="en-US" dirty="0"/>
        </a:p>
      </dgm:t>
    </dgm:pt>
    <dgm:pt modelId="{E232E565-32AD-483A-869A-334B06CEA892}" type="parTrans" cxnId="{CB8CDC5D-8A68-4756-9DF1-5AE03BC33EA7}">
      <dgm:prSet/>
      <dgm:spPr/>
      <dgm:t>
        <a:bodyPr/>
        <a:lstStyle/>
        <a:p>
          <a:endParaRPr lang="en-US"/>
        </a:p>
      </dgm:t>
    </dgm:pt>
    <dgm:pt modelId="{6A1B2DF0-59C2-47BE-AF3D-AE2E6F07755A}" type="sibTrans" cxnId="{CB8CDC5D-8A68-4756-9DF1-5AE03BC33EA7}">
      <dgm:prSet/>
      <dgm:spPr/>
      <dgm:t>
        <a:bodyPr/>
        <a:lstStyle/>
        <a:p>
          <a:endParaRPr lang="en-US"/>
        </a:p>
      </dgm:t>
    </dgm:pt>
    <dgm:pt modelId="{505ECFDC-C3DE-4F5F-BF86-4C8DF23C0AE9}">
      <dgm:prSet phldrT="[Text]"/>
      <dgm:spPr/>
      <dgm:t>
        <a:bodyPr/>
        <a:lstStyle/>
        <a:p>
          <a:r>
            <a:rPr lang="de-DE" dirty="0"/>
            <a:t>Umfang</a:t>
          </a:r>
          <a:endParaRPr lang="en-US" dirty="0"/>
        </a:p>
      </dgm:t>
    </dgm:pt>
    <dgm:pt modelId="{0BD40EAC-4D9E-4142-9395-C64C54F98974}" type="parTrans" cxnId="{F25BC3E4-15EE-44A3-8348-5A360C260403}">
      <dgm:prSet/>
      <dgm:spPr/>
      <dgm:t>
        <a:bodyPr/>
        <a:lstStyle/>
        <a:p>
          <a:endParaRPr lang="en-US"/>
        </a:p>
      </dgm:t>
    </dgm:pt>
    <dgm:pt modelId="{C682D7CC-6878-49BB-ABC5-0235CB14F263}" type="sibTrans" cxnId="{F25BC3E4-15EE-44A3-8348-5A360C260403}">
      <dgm:prSet/>
      <dgm:spPr/>
      <dgm:t>
        <a:bodyPr/>
        <a:lstStyle/>
        <a:p>
          <a:endParaRPr lang="en-US"/>
        </a:p>
      </dgm:t>
    </dgm:pt>
    <dgm:pt modelId="{5320ABCD-429D-4135-9CD7-4191E7D5ECC3}">
      <dgm:prSet phldrT="[Text]"/>
      <dgm:spPr/>
      <dgm:t>
        <a:bodyPr/>
        <a:lstStyle/>
        <a:p>
          <a:r>
            <a:rPr lang="de-DE" dirty="0"/>
            <a:t>Anforderungen</a:t>
          </a:r>
          <a:endParaRPr lang="en-US" dirty="0"/>
        </a:p>
      </dgm:t>
    </dgm:pt>
    <dgm:pt modelId="{1B5CFC53-20AF-4C63-A360-654CF467EBC4}" type="parTrans" cxnId="{F837A609-DB42-4195-9BA2-6E3F31AF3806}">
      <dgm:prSet/>
      <dgm:spPr/>
      <dgm:t>
        <a:bodyPr/>
        <a:lstStyle/>
        <a:p>
          <a:endParaRPr lang="en-US"/>
        </a:p>
      </dgm:t>
    </dgm:pt>
    <dgm:pt modelId="{55A30335-2AD8-4475-8D54-A7AC9307A73D}" type="sibTrans" cxnId="{F837A609-DB42-4195-9BA2-6E3F31AF3806}">
      <dgm:prSet/>
      <dgm:spPr/>
      <dgm:t>
        <a:bodyPr/>
        <a:lstStyle/>
        <a:p>
          <a:endParaRPr lang="en-US"/>
        </a:p>
      </dgm:t>
    </dgm:pt>
    <dgm:pt modelId="{219C9023-EF54-47A7-8400-C4493040DC4B}">
      <dgm:prSet phldrT="[Text]"/>
      <dgm:spPr/>
      <dgm:t>
        <a:bodyPr/>
        <a:lstStyle/>
        <a:p>
          <a:r>
            <a:rPr lang="de-DE" dirty="0"/>
            <a:t>[….]</a:t>
          </a:r>
          <a:endParaRPr lang="en-US" dirty="0"/>
        </a:p>
      </dgm:t>
    </dgm:pt>
    <dgm:pt modelId="{5804E1F5-3856-4B41-9AD4-D969C4D87856}" type="parTrans" cxnId="{A2BD9704-6256-4138-930E-1F3215A613AC}">
      <dgm:prSet/>
      <dgm:spPr/>
      <dgm:t>
        <a:bodyPr/>
        <a:lstStyle/>
        <a:p>
          <a:endParaRPr lang="en-US"/>
        </a:p>
      </dgm:t>
    </dgm:pt>
    <dgm:pt modelId="{4B0DE63C-85F8-4A91-8B2F-36E68CBE4429}" type="sibTrans" cxnId="{A2BD9704-6256-4138-930E-1F3215A613AC}">
      <dgm:prSet/>
      <dgm:spPr/>
      <dgm:t>
        <a:bodyPr/>
        <a:lstStyle/>
        <a:p>
          <a:endParaRPr lang="en-US"/>
        </a:p>
      </dgm:t>
    </dgm:pt>
    <dgm:pt modelId="{5E9A7527-A1EA-464D-87C8-974AD3EEEBC8}">
      <dgm:prSet phldrT="[Text]"/>
      <dgm:spPr/>
      <dgm:t>
        <a:bodyPr/>
        <a:lstStyle/>
        <a:p>
          <a:r>
            <a:rPr lang="de-DE" dirty="0"/>
            <a:t>optional</a:t>
          </a:r>
          <a:endParaRPr lang="en-US" dirty="0"/>
        </a:p>
      </dgm:t>
    </dgm:pt>
    <dgm:pt modelId="{F4302BB6-1274-4203-BF61-5CE412223E6B}" type="parTrans" cxnId="{5C0D9CF2-FBA9-4898-AC6B-7CD47A5F751A}">
      <dgm:prSet/>
      <dgm:spPr/>
      <dgm:t>
        <a:bodyPr/>
        <a:lstStyle/>
        <a:p>
          <a:endParaRPr lang="en-US"/>
        </a:p>
      </dgm:t>
    </dgm:pt>
    <dgm:pt modelId="{6508165D-081D-4600-BC68-E576FA002783}" type="sibTrans" cxnId="{5C0D9CF2-FBA9-4898-AC6B-7CD47A5F751A}">
      <dgm:prSet/>
      <dgm:spPr/>
      <dgm:t>
        <a:bodyPr/>
        <a:lstStyle/>
        <a:p>
          <a:endParaRPr lang="en-US"/>
        </a:p>
      </dgm:t>
    </dgm:pt>
    <dgm:pt modelId="{B0153736-BA48-4F22-B113-8061DD2B4FE1}">
      <dgm:prSet phldrT="[Text]"/>
      <dgm:spPr/>
      <dgm:t>
        <a:bodyPr/>
        <a:lstStyle/>
        <a:p>
          <a:r>
            <a:rPr lang="de-DE" dirty="0" err="1"/>
            <a:t>Isermann</a:t>
          </a:r>
          <a:endParaRPr lang="en-US" dirty="0"/>
        </a:p>
      </dgm:t>
    </dgm:pt>
    <dgm:pt modelId="{42C67FF1-9AC6-4B7F-997F-456BA092DE76}" type="parTrans" cxnId="{960DFD57-0297-44D5-8F79-0EBEC52FF9C6}">
      <dgm:prSet/>
      <dgm:spPr/>
      <dgm:t>
        <a:bodyPr/>
        <a:lstStyle/>
        <a:p>
          <a:endParaRPr lang="en-US"/>
        </a:p>
      </dgm:t>
    </dgm:pt>
    <dgm:pt modelId="{E6BA5A1F-65A7-44AE-8909-5D842AB7DA13}" type="sibTrans" cxnId="{960DFD57-0297-44D5-8F79-0EBEC52FF9C6}">
      <dgm:prSet/>
      <dgm:spPr/>
      <dgm:t>
        <a:bodyPr/>
        <a:lstStyle/>
        <a:p>
          <a:endParaRPr lang="en-US"/>
        </a:p>
      </dgm:t>
    </dgm:pt>
    <dgm:pt modelId="{29DD8712-64B2-43FA-90B5-0C61803AC3BE}">
      <dgm:prSet phldrT="[Text]"/>
      <dgm:spPr/>
      <dgm:t>
        <a:bodyPr/>
        <a:lstStyle/>
        <a:p>
          <a:r>
            <a:rPr lang="de-DE" dirty="0"/>
            <a:t>GPS</a:t>
          </a:r>
          <a:endParaRPr lang="en-US" dirty="0"/>
        </a:p>
      </dgm:t>
    </dgm:pt>
    <dgm:pt modelId="{4911A6D9-A629-46A5-BB55-A5A8D043117C}" type="parTrans" cxnId="{CE39F9E0-6351-4F87-A5EE-0608489FC4F9}">
      <dgm:prSet/>
      <dgm:spPr/>
      <dgm:t>
        <a:bodyPr/>
        <a:lstStyle/>
        <a:p>
          <a:endParaRPr lang="en-US"/>
        </a:p>
      </dgm:t>
    </dgm:pt>
    <dgm:pt modelId="{2204A20C-9851-4E68-89FE-10DD2772A5EB}" type="sibTrans" cxnId="{CE39F9E0-6351-4F87-A5EE-0608489FC4F9}">
      <dgm:prSet/>
      <dgm:spPr/>
      <dgm:t>
        <a:bodyPr/>
        <a:lstStyle/>
        <a:p>
          <a:endParaRPr lang="en-US"/>
        </a:p>
      </dgm:t>
    </dgm:pt>
    <dgm:pt modelId="{1471844E-F1FC-488D-A985-3028FD43397F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7F547E4C-94F9-485C-909B-11E21E11BA50}" type="parTrans" cxnId="{03C2A75B-C78D-4566-AE2A-1FB6679594BB}">
      <dgm:prSet/>
      <dgm:spPr/>
      <dgm:t>
        <a:bodyPr/>
        <a:lstStyle/>
        <a:p>
          <a:endParaRPr lang="en-US"/>
        </a:p>
      </dgm:t>
    </dgm:pt>
    <dgm:pt modelId="{BCA3D712-5881-41E0-9728-B3BC0E72142C}" type="sibTrans" cxnId="{03C2A75B-C78D-4566-AE2A-1FB6679594BB}">
      <dgm:prSet/>
      <dgm:spPr/>
      <dgm:t>
        <a:bodyPr/>
        <a:lstStyle/>
        <a:p>
          <a:endParaRPr lang="en-US"/>
        </a:p>
      </dgm:t>
    </dgm:pt>
    <dgm:pt modelId="{1EEAF53C-A036-4373-9BDA-EB4721A0D03D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8F156399-D325-4DE0-999F-397390A8B5D1}" type="parTrans" cxnId="{C05D5F59-0848-42BE-B000-5D3CEBC8D6AB}">
      <dgm:prSet/>
      <dgm:spPr/>
      <dgm:t>
        <a:bodyPr/>
        <a:lstStyle/>
        <a:p>
          <a:endParaRPr lang="en-US"/>
        </a:p>
      </dgm:t>
    </dgm:pt>
    <dgm:pt modelId="{CC81C0C0-064F-49F4-8775-9C7817F4253E}" type="sibTrans" cxnId="{C05D5F59-0848-42BE-B000-5D3CEBC8D6AB}">
      <dgm:prSet/>
      <dgm:spPr/>
      <dgm:t>
        <a:bodyPr/>
        <a:lstStyle/>
        <a:p>
          <a:endParaRPr lang="en-US"/>
        </a:p>
      </dgm:t>
    </dgm:pt>
    <dgm:pt modelId="{7085B993-51ED-4F14-8E6C-0F1457C813C8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E39AC390-C707-4AF7-94FA-9F7B6E3D829E}" type="parTrans" cxnId="{FD0C005F-4B10-4C44-B5D8-3AC72EBF1B3B}">
      <dgm:prSet/>
      <dgm:spPr/>
      <dgm:t>
        <a:bodyPr/>
        <a:lstStyle/>
        <a:p>
          <a:endParaRPr lang="en-US"/>
        </a:p>
      </dgm:t>
    </dgm:pt>
    <dgm:pt modelId="{7467CD0F-ABCA-48B1-837C-C2D8130A4718}" type="sibTrans" cxnId="{FD0C005F-4B10-4C44-B5D8-3AC72EBF1B3B}">
      <dgm:prSet/>
      <dgm:spPr/>
      <dgm:t>
        <a:bodyPr/>
        <a:lstStyle/>
        <a:p>
          <a:endParaRPr lang="en-US"/>
        </a:p>
      </dgm:t>
    </dgm:pt>
    <dgm:pt modelId="{F672FA88-AD1E-4E17-8B65-CF6490C3F5BB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4D8F113B-4C12-40A8-A241-F0FD27FF247C}" type="parTrans" cxnId="{234CBC26-7260-4F9D-97FF-1560DE78F300}">
      <dgm:prSet/>
      <dgm:spPr/>
      <dgm:t>
        <a:bodyPr/>
        <a:lstStyle/>
        <a:p>
          <a:endParaRPr lang="en-US"/>
        </a:p>
      </dgm:t>
    </dgm:pt>
    <dgm:pt modelId="{B10FE3F1-5026-4611-B572-2450514468D7}" type="sibTrans" cxnId="{234CBC26-7260-4F9D-97FF-1560DE78F300}">
      <dgm:prSet/>
      <dgm:spPr/>
      <dgm:t>
        <a:bodyPr/>
        <a:lstStyle/>
        <a:p>
          <a:endParaRPr lang="en-US"/>
        </a:p>
      </dgm:t>
    </dgm:pt>
    <dgm:pt modelId="{0CA90BAD-9BAC-4970-B428-1CC8D88FDC82}">
      <dgm:prSet phldrT="[Text]"/>
      <dgm:spPr/>
      <dgm:t>
        <a:bodyPr/>
        <a:lstStyle/>
        <a:p>
          <a:r>
            <a:rPr lang="de-DE" dirty="0"/>
            <a:t>FAIR (tief eingehen)</a:t>
          </a:r>
          <a:endParaRPr lang="en-US" dirty="0"/>
        </a:p>
      </dgm:t>
    </dgm:pt>
    <dgm:pt modelId="{9BEE6A5F-0FBC-4AFE-AF7D-989FD2095741}" type="parTrans" cxnId="{0C58E3CB-3411-4096-9383-B268457BE3D7}">
      <dgm:prSet/>
      <dgm:spPr/>
      <dgm:t>
        <a:bodyPr/>
        <a:lstStyle/>
        <a:p>
          <a:endParaRPr lang="en-US"/>
        </a:p>
      </dgm:t>
    </dgm:pt>
    <dgm:pt modelId="{8BE4D297-DBDE-4E2C-8CAB-091FA13F5C88}" type="sibTrans" cxnId="{0C58E3CB-3411-4096-9383-B268457BE3D7}">
      <dgm:prSet/>
      <dgm:spPr/>
      <dgm:t>
        <a:bodyPr/>
        <a:lstStyle/>
        <a:p>
          <a:endParaRPr lang="en-US"/>
        </a:p>
      </dgm:t>
    </dgm:pt>
    <dgm:pt modelId="{098ED2DF-200A-4845-A09C-6097546F7099}">
      <dgm:prSet phldrT="[Text]"/>
      <dgm:spPr/>
      <dgm:t>
        <a:bodyPr/>
        <a:lstStyle/>
        <a:p>
          <a:r>
            <a:rPr lang="de-DE" dirty="0"/>
            <a:t>Beispiele</a:t>
          </a:r>
          <a:endParaRPr lang="en-US" dirty="0"/>
        </a:p>
      </dgm:t>
    </dgm:pt>
    <dgm:pt modelId="{8C3E4B60-EFCC-4B12-BCA0-85125BE4E8B8}" type="parTrans" cxnId="{2FBE9025-731D-4682-9B7C-39AC8E976C7C}">
      <dgm:prSet/>
      <dgm:spPr/>
      <dgm:t>
        <a:bodyPr/>
        <a:lstStyle/>
        <a:p>
          <a:endParaRPr lang="en-US"/>
        </a:p>
      </dgm:t>
    </dgm:pt>
    <dgm:pt modelId="{430F92C4-64EB-4309-A2F2-6F123C6D4B0B}" type="sibTrans" cxnId="{2FBE9025-731D-4682-9B7C-39AC8E976C7C}">
      <dgm:prSet/>
      <dgm:spPr/>
      <dgm:t>
        <a:bodyPr/>
        <a:lstStyle/>
        <a:p>
          <a:endParaRPr lang="en-US"/>
        </a:p>
      </dgm:t>
    </dgm:pt>
    <dgm:pt modelId="{D44FD64F-16DB-46BF-83ED-B2D5775E2E31}">
      <dgm:prSet phldrT="[Text]"/>
      <dgm:spPr/>
      <dgm:t>
        <a:bodyPr/>
        <a:lstStyle/>
        <a:p>
          <a:r>
            <a:rPr lang="de-DE" dirty="0" err="1"/>
            <a:t>Skystash</a:t>
          </a:r>
          <a:endParaRPr lang="en-US" dirty="0"/>
        </a:p>
      </dgm:t>
    </dgm:pt>
    <dgm:pt modelId="{14A046CE-0005-477C-A614-9D761788C420}" type="parTrans" cxnId="{8A77C756-880C-4BA6-850F-5E36B7BF4D61}">
      <dgm:prSet/>
      <dgm:spPr/>
      <dgm:t>
        <a:bodyPr/>
        <a:lstStyle/>
        <a:p>
          <a:endParaRPr lang="en-US"/>
        </a:p>
      </dgm:t>
    </dgm:pt>
    <dgm:pt modelId="{35F50636-21D6-4868-883F-94C9A4A624DC}" type="sibTrans" cxnId="{8A77C756-880C-4BA6-850F-5E36B7BF4D61}">
      <dgm:prSet/>
      <dgm:spPr/>
      <dgm:t>
        <a:bodyPr/>
        <a:lstStyle/>
        <a:p>
          <a:endParaRPr lang="en-US"/>
        </a:p>
      </dgm:t>
    </dgm:pt>
    <dgm:pt modelId="{639F3D2A-A320-4CFF-BF50-B399452D73AA}">
      <dgm:prSet phldrT="[Text]"/>
      <dgm:spPr/>
      <dgm:t>
        <a:bodyPr/>
        <a:lstStyle/>
        <a:p>
          <a:r>
            <a:rPr lang="de-DE" dirty="0"/>
            <a:t>Optimale </a:t>
          </a:r>
          <a:r>
            <a:rPr lang="de-DE" dirty="0" err="1"/>
            <a:t>datenstruktur</a:t>
          </a:r>
          <a:endParaRPr lang="en-US" dirty="0"/>
        </a:p>
      </dgm:t>
    </dgm:pt>
    <dgm:pt modelId="{D5702E81-83A3-468D-BC1C-E75D59D0C65B}" type="parTrans" cxnId="{AF4EB04B-5559-420E-8612-26F8FD427A2D}">
      <dgm:prSet/>
      <dgm:spPr/>
      <dgm:t>
        <a:bodyPr/>
        <a:lstStyle/>
        <a:p>
          <a:endParaRPr lang="en-US"/>
        </a:p>
      </dgm:t>
    </dgm:pt>
    <dgm:pt modelId="{0C1C67C1-4623-4BB2-9EFA-2A31B11DDF94}" type="sibTrans" cxnId="{AF4EB04B-5559-420E-8612-26F8FD427A2D}">
      <dgm:prSet/>
      <dgm:spPr/>
      <dgm:t>
        <a:bodyPr/>
        <a:lstStyle/>
        <a:p>
          <a:endParaRPr lang="en-US"/>
        </a:p>
      </dgm:t>
    </dgm:pt>
    <dgm:pt modelId="{FC0CC90C-D47F-4B56-A343-556B8CC983E4}">
      <dgm:prSet phldrT="[Text]"/>
      <dgm:spPr/>
      <dgm:t>
        <a:bodyPr/>
        <a:lstStyle/>
        <a:p>
          <a:r>
            <a:rPr lang="de-DE" dirty="0"/>
            <a:t>SOIL</a:t>
          </a:r>
          <a:endParaRPr lang="en-US" dirty="0"/>
        </a:p>
      </dgm:t>
    </dgm:pt>
    <dgm:pt modelId="{B6A82C6B-2A51-472B-9EC4-0EC3EBB64BCE}" type="parTrans" cxnId="{F85DA7A2-D46E-4929-A9A1-63DF209D5EE7}">
      <dgm:prSet/>
      <dgm:spPr/>
      <dgm:t>
        <a:bodyPr/>
        <a:lstStyle/>
        <a:p>
          <a:endParaRPr lang="en-US"/>
        </a:p>
      </dgm:t>
    </dgm:pt>
    <dgm:pt modelId="{438E05BE-D70D-4253-8B95-1E5D9F2C0978}" type="sibTrans" cxnId="{F85DA7A2-D46E-4929-A9A1-63DF209D5EE7}">
      <dgm:prSet/>
      <dgm:spPr/>
      <dgm:t>
        <a:bodyPr/>
        <a:lstStyle/>
        <a:p>
          <a:endParaRPr lang="en-US"/>
        </a:p>
      </dgm:t>
    </dgm:pt>
    <dgm:pt modelId="{0EE81264-9DD8-4939-9568-6189003709C3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5C754D67-7B37-43C7-B31F-6E21117B112C}" type="parTrans" cxnId="{888C4987-DB7D-4343-A27F-A64792516E7D}">
      <dgm:prSet/>
      <dgm:spPr/>
      <dgm:t>
        <a:bodyPr/>
        <a:lstStyle/>
        <a:p>
          <a:endParaRPr lang="en-US"/>
        </a:p>
      </dgm:t>
    </dgm:pt>
    <dgm:pt modelId="{3CE3FCC7-EE0F-4F23-B340-38857434F3BD}" type="sibTrans" cxnId="{888C4987-DB7D-4343-A27F-A64792516E7D}">
      <dgm:prSet/>
      <dgm:spPr/>
      <dgm:t>
        <a:bodyPr/>
        <a:lstStyle/>
        <a:p>
          <a:endParaRPr lang="en-US"/>
        </a:p>
      </dgm:t>
    </dgm:pt>
    <dgm:pt modelId="{B42F0CC1-7A73-4752-A1ED-EC19E61FC1A0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F1FA5DFD-022B-4299-A827-784D32E48189}" type="parTrans" cxnId="{A742353E-2050-49B3-BB5A-0D951B702CF9}">
      <dgm:prSet/>
      <dgm:spPr/>
      <dgm:t>
        <a:bodyPr/>
        <a:lstStyle/>
        <a:p>
          <a:endParaRPr lang="en-US"/>
        </a:p>
      </dgm:t>
    </dgm:pt>
    <dgm:pt modelId="{1408FA9B-2FA3-4E7C-AD4A-4D4E07C110BB}" type="sibTrans" cxnId="{A742353E-2050-49B3-BB5A-0D951B702CF9}">
      <dgm:prSet/>
      <dgm:spPr/>
      <dgm:t>
        <a:bodyPr/>
        <a:lstStyle/>
        <a:p>
          <a:endParaRPr lang="en-US"/>
        </a:p>
      </dgm:t>
    </dgm:pt>
    <dgm:pt modelId="{B89E4D08-69C3-48C2-B2EF-34D97470F8CD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D7F8C0AC-B9E2-43DF-8BD9-81F165F81039}" type="parTrans" cxnId="{8A0CDC65-28AA-4483-A265-BB3294E02D5A}">
      <dgm:prSet/>
      <dgm:spPr/>
      <dgm:t>
        <a:bodyPr/>
        <a:lstStyle/>
        <a:p>
          <a:endParaRPr lang="en-US"/>
        </a:p>
      </dgm:t>
    </dgm:pt>
    <dgm:pt modelId="{F7D4BD2C-119B-4249-A4A7-F8317E26BDA4}" type="sibTrans" cxnId="{8A0CDC65-28AA-4483-A265-BB3294E02D5A}">
      <dgm:prSet/>
      <dgm:spPr/>
      <dgm:t>
        <a:bodyPr/>
        <a:lstStyle/>
        <a:p>
          <a:endParaRPr lang="en-US"/>
        </a:p>
      </dgm:t>
    </dgm:pt>
    <dgm:pt modelId="{F8593B88-2C65-43F4-8501-A02637CC4475}">
      <dgm:prSet phldrT="[Text]"/>
      <dgm:spPr/>
      <dgm:t>
        <a:bodyPr/>
        <a:lstStyle/>
        <a:p>
          <a:r>
            <a:rPr lang="de-DE" dirty="0"/>
            <a:t>STFT</a:t>
          </a:r>
          <a:endParaRPr lang="en-US" dirty="0"/>
        </a:p>
      </dgm:t>
    </dgm:pt>
    <dgm:pt modelId="{55E7A6C9-1BA8-4EC3-BA6B-83EF7985E704}" type="parTrans" cxnId="{B5241BAD-9A10-4A9F-85CC-8BFAEBB521BF}">
      <dgm:prSet/>
      <dgm:spPr/>
      <dgm:t>
        <a:bodyPr/>
        <a:lstStyle/>
        <a:p>
          <a:endParaRPr lang="en-US"/>
        </a:p>
      </dgm:t>
    </dgm:pt>
    <dgm:pt modelId="{0854DCB1-17CC-4FFD-9A7D-E6215B5247AB}" type="sibTrans" cxnId="{B5241BAD-9A10-4A9F-85CC-8BFAEBB521BF}">
      <dgm:prSet/>
      <dgm:spPr/>
      <dgm:t>
        <a:bodyPr/>
        <a:lstStyle/>
        <a:p>
          <a:endParaRPr lang="en-US"/>
        </a:p>
      </dgm:t>
    </dgm:pt>
    <dgm:pt modelId="{46FE586A-F3D2-4623-944F-10E7F24ECE62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philosophy</a:t>
          </a:r>
          <a:endParaRPr lang="en-US" dirty="0"/>
        </a:p>
      </dgm:t>
    </dgm:pt>
    <dgm:pt modelId="{109D5438-A2DE-4E26-8761-20EC03B9BD7F}" type="parTrans" cxnId="{4498B2FD-E5DF-4BE1-95B6-B348D235B9DE}">
      <dgm:prSet/>
      <dgm:spPr/>
      <dgm:t>
        <a:bodyPr/>
        <a:lstStyle/>
        <a:p>
          <a:endParaRPr lang="en-US"/>
        </a:p>
      </dgm:t>
    </dgm:pt>
    <dgm:pt modelId="{5AD78F0F-B053-47F4-AB29-A1BED81984FB}" type="sibTrans" cxnId="{4498B2FD-E5DF-4BE1-95B6-B348D235B9DE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de-DE" dirty="0"/>
            <a:t>Basics: </a:t>
          </a:r>
          <a:r>
            <a:rPr lang="de-DE" dirty="0" err="1"/>
            <a:t>Metadata</a:t>
          </a:r>
          <a:r>
            <a:rPr lang="de-DE" dirty="0"/>
            <a:t> Collection, </a:t>
          </a:r>
          <a:r>
            <a:rPr lang="de-DE" dirty="0" err="1"/>
            <a:t>formatting</a:t>
          </a:r>
          <a:r>
            <a:rPr lang="de-DE" dirty="0"/>
            <a:t> </a:t>
          </a:r>
          <a:r>
            <a:rPr lang="de-DE" dirty="0" err="1"/>
            <a:t>into</a:t>
          </a:r>
          <a:r>
            <a:rPr lang="de-DE" dirty="0"/>
            <a:t> SOIL </a:t>
          </a:r>
          <a:endParaRPr lang="en-US" dirty="0"/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4FD3EB63-D496-4E04-8463-EB7FACF896F2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Data</a:t>
          </a:r>
          <a:endParaRPr lang="en-US" dirty="0"/>
        </a:p>
      </dgm:t>
    </dgm:pt>
    <dgm:pt modelId="{6D3CEE6C-81D8-4CB5-8CE6-AABDA8BBBDF2}" type="parTrans" cxnId="{14064F6A-2BB9-4AFE-8510-42EF5CDF89EA}">
      <dgm:prSet/>
      <dgm:spPr/>
      <dgm:t>
        <a:bodyPr/>
        <a:lstStyle/>
        <a:p>
          <a:endParaRPr lang="en-US"/>
        </a:p>
      </dgm:t>
    </dgm:pt>
    <dgm:pt modelId="{0B904BD0-6B86-403B-87D2-378C5E4E2FF5}" type="sibTrans" cxnId="{14064F6A-2BB9-4AFE-8510-42EF5CDF89EA}">
      <dgm:prSet/>
      <dgm:spPr/>
      <dgm:t>
        <a:bodyPr/>
        <a:lstStyle/>
        <a:p>
          <a:endParaRPr lang="en-US"/>
        </a:p>
      </dgm:t>
    </dgm:pt>
    <dgm:pt modelId="{3B523FDC-D939-49CA-A97B-7F40BE9FC06F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and </a:t>
          </a:r>
          <a:r>
            <a:rPr lang="de-DE" dirty="0" err="1"/>
            <a:t>assignmen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config</a:t>
          </a:r>
          <a:endParaRPr lang="en-US" dirty="0"/>
        </a:p>
      </dgm:t>
    </dgm:pt>
    <dgm:pt modelId="{C003653F-6AC4-4819-813F-C1099F8D8AE8}" type="parTrans" cxnId="{F6061943-4ECA-46B9-8097-477A0D628733}">
      <dgm:prSet/>
      <dgm:spPr/>
      <dgm:t>
        <a:bodyPr/>
        <a:lstStyle/>
        <a:p>
          <a:endParaRPr lang="en-US"/>
        </a:p>
      </dgm:t>
    </dgm:pt>
    <dgm:pt modelId="{3EF824F1-9906-4F03-8074-28279C88605E}" type="sibTrans" cxnId="{F6061943-4ECA-46B9-8097-477A0D628733}">
      <dgm:prSet/>
      <dgm:spPr/>
      <dgm:t>
        <a:bodyPr/>
        <a:lstStyle/>
        <a:p>
          <a:endParaRPr lang="en-US"/>
        </a:p>
      </dgm:t>
    </dgm:pt>
    <dgm:pt modelId="{E2BFE4DF-4103-44A7-8AB7-0892C701EE46}">
      <dgm:prSet phldrT="[Text]"/>
      <dgm:spPr/>
      <dgm:t>
        <a:bodyPr/>
        <a:lstStyle/>
        <a:p>
          <a:r>
            <a:rPr lang="de-DE" dirty="0"/>
            <a:t>Check 1 Implementation</a:t>
          </a:r>
          <a:endParaRPr lang="en-US" dirty="0"/>
        </a:p>
      </dgm:t>
    </dgm:pt>
    <dgm:pt modelId="{BF286CDC-5668-4F2B-9FE0-885F8EAA6E98}" type="parTrans" cxnId="{DC03E144-0FAC-4BD2-B16D-3F88E45B905D}">
      <dgm:prSet/>
      <dgm:spPr/>
      <dgm:t>
        <a:bodyPr/>
        <a:lstStyle/>
        <a:p>
          <a:endParaRPr lang="en-US"/>
        </a:p>
      </dgm:t>
    </dgm:pt>
    <dgm:pt modelId="{B7272AF2-8DA7-4410-8330-6665F5EEF904}" type="sibTrans" cxnId="{DC03E144-0FAC-4BD2-B16D-3F88E45B905D}">
      <dgm:prSet/>
      <dgm:spPr/>
      <dgm:t>
        <a:bodyPr/>
        <a:lstStyle/>
        <a:p>
          <a:endParaRPr lang="en-US"/>
        </a:p>
      </dgm:t>
    </dgm:pt>
    <dgm:pt modelId="{3FD8E3B0-4765-40A9-A706-1B2AEA1D1606}">
      <dgm:prSet phldrT="[Text]"/>
      <dgm:spPr/>
      <dgm:t>
        <a:bodyPr/>
        <a:lstStyle/>
        <a:p>
          <a:r>
            <a:rPr lang="de-DE" dirty="0"/>
            <a:t>Check 2 Implementation</a:t>
          </a:r>
          <a:endParaRPr lang="en-US" dirty="0"/>
        </a:p>
      </dgm:t>
    </dgm:pt>
    <dgm:pt modelId="{719BDBBA-5472-461A-931E-FAB1EF32483F}" type="parTrans" cxnId="{F9CFCE6F-CB6B-4FEA-A06D-C32661DA8CCD}">
      <dgm:prSet/>
      <dgm:spPr/>
      <dgm:t>
        <a:bodyPr/>
        <a:lstStyle/>
        <a:p>
          <a:endParaRPr lang="en-US"/>
        </a:p>
      </dgm:t>
    </dgm:pt>
    <dgm:pt modelId="{278EAE6B-A731-4C98-927A-7FEEF0FD5A90}" type="sibTrans" cxnId="{F9CFCE6F-CB6B-4FEA-A06D-C32661DA8CCD}">
      <dgm:prSet/>
      <dgm:spPr/>
      <dgm:t>
        <a:bodyPr/>
        <a:lstStyle/>
        <a:p>
          <a:endParaRPr lang="en-US"/>
        </a:p>
      </dgm:t>
    </dgm:pt>
    <dgm:pt modelId="{939DEE15-5E26-461C-B4C6-54ACA0EA0FE8}">
      <dgm:prSet phldrT="[Text]"/>
      <dgm:spPr/>
      <dgm:t>
        <a:bodyPr/>
        <a:lstStyle/>
        <a:p>
          <a:r>
            <a:rPr lang="de-DE" dirty="0" err="1"/>
            <a:t>No</a:t>
          </a:r>
          <a:r>
            <a:rPr lang="de-DE" dirty="0"/>
            <a:t> </a:t>
          </a:r>
          <a:r>
            <a:rPr lang="de-DE" dirty="0" err="1"/>
            <a:t>signal</a:t>
          </a:r>
          <a:r>
            <a:rPr lang="de-DE" dirty="0"/>
            <a:t> (</a:t>
          </a:r>
          <a:r>
            <a:rPr lang="de-DE" dirty="0" err="1"/>
            <a:t>value</a:t>
          </a:r>
          <a:r>
            <a:rPr lang="de-DE" dirty="0"/>
            <a:t>)</a:t>
          </a:r>
          <a:endParaRPr lang="en-US" dirty="0"/>
        </a:p>
      </dgm:t>
    </dgm:pt>
    <dgm:pt modelId="{BD4ACFEF-47B0-4DB1-AA0B-F24CDE0074BB}" type="parTrans" cxnId="{938602A7-3E1F-41B5-9901-0867D20A8271}">
      <dgm:prSet/>
      <dgm:spPr/>
      <dgm:t>
        <a:bodyPr/>
        <a:lstStyle/>
        <a:p>
          <a:endParaRPr lang="en-US"/>
        </a:p>
      </dgm:t>
    </dgm:pt>
    <dgm:pt modelId="{CB65C640-85F6-454F-9A31-37D1ABAE3FD6}" type="sibTrans" cxnId="{938602A7-3E1F-41B5-9901-0867D20A8271}">
      <dgm:prSet/>
      <dgm:spPr/>
      <dgm:t>
        <a:bodyPr/>
        <a:lstStyle/>
        <a:p>
          <a:endParaRPr lang="en-US"/>
        </a:p>
      </dgm:t>
    </dgm:pt>
    <dgm:pt modelId="{24C1B535-4459-47A5-A28C-A9C9409846BB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high</a:t>
          </a:r>
          <a:endParaRPr lang="en-US" dirty="0"/>
        </a:p>
      </dgm:t>
    </dgm:pt>
    <dgm:pt modelId="{77779F0E-CD63-4E92-BBA4-72476EFB059B}" type="parTrans" cxnId="{D955B7E4-D0D5-4127-90BB-EE584260E224}">
      <dgm:prSet/>
      <dgm:spPr/>
      <dgm:t>
        <a:bodyPr/>
        <a:lstStyle/>
        <a:p>
          <a:endParaRPr lang="en-US"/>
        </a:p>
      </dgm:t>
    </dgm:pt>
    <dgm:pt modelId="{D93C64B9-4103-4460-A77D-7FE3B40E6F7B}" type="sibTrans" cxnId="{D955B7E4-D0D5-4127-90BB-EE584260E224}">
      <dgm:prSet/>
      <dgm:spPr/>
      <dgm:t>
        <a:bodyPr/>
        <a:lstStyle/>
        <a:p>
          <a:endParaRPr lang="en-US"/>
        </a:p>
      </dgm:t>
    </dgm:pt>
    <dgm:pt modelId="{3262161C-EDBD-4FC2-BD99-97291CA77D70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</a:t>
          </a:r>
          <a:r>
            <a:rPr lang="de-DE" dirty="0" err="1"/>
            <a:t>low</a:t>
          </a:r>
          <a:endParaRPr lang="en-US" dirty="0"/>
        </a:p>
      </dgm:t>
    </dgm:pt>
    <dgm:pt modelId="{7ED050D5-3B50-425C-ABF3-A1DE130FC850}" type="parTrans" cxnId="{3B1A6DFF-2560-433F-8117-975A0A9D19C3}">
      <dgm:prSet/>
      <dgm:spPr/>
      <dgm:t>
        <a:bodyPr/>
        <a:lstStyle/>
        <a:p>
          <a:endParaRPr lang="en-US"/>
        </a:p>
      </dgm:t>
    </dgm:pt>
    <dgm:pt modelId="{F9E0A2FF-6E03-461F-A5DF-18D674AE1317}" type="sibTrans" cxnId="{3B1A6DFF-2560-433F-8117-975A0A9D19C3}">
      <dgm:prSet/>
      <dgm:spPr/>
      <dgm:t>
        <a:bodyPr/>
        <a:lstStyle/>
        <a:p>
          <a:endParaRPr lang="en-US"/>
        </a:p>
      </dgm:t>
    </dgm:pt>
    <dgm:pt modelId="{79723538-296C-49FC-BBE2-98B6F8307AF7}">
      <dgm:prSet phldrT="[Text]"/>
      <dgm:spPr/>
      <dgm:t>
        <a:bodyPr/>
        <a:lstStyle/>
        <a:p>
          <a:r>
            <a:rPr lang="de-DE" dirty="0"/>
            <a:t>Out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range</a:t>
          </a:r>
          <a:endParaRPr lang="en-US" dirty="0"/>
        </a:p>
      </dgm:t>
    </dgm:pt>
    <dgm:pt modelId="{DEBEE8BC-375A-4C48-A028-98225CAF9BAF}" type="parTrans" cxnId="{9148A46C-022C-4D8E-9078-6809E3D0EF1A}">
      <dgm:prSet/>
      <dgm:spPr/>
      <dgm:t>
        <a:bodyPr/>
        <a:lstStyle/>
        <a:p>
          <a:endParaRPr lang="en-US"/>
        </a:p>
      </dgm:t>
    </dgm:pt>
    <dgm:pt modelId="{965342BB-1530-4658-9F8D-F40977665750}" type="sibTrans" cxnId="{9148A46C-022C-4D8E-9078-6809E3D0EF1A}">
      <dgm:prSet/>
      <dgm:spPr/>
      <dgm:t>
        <a:bodyPr/>
        <a:lstStyle/>
        <a:p>
          <a:endParaRPr lang="en-US"/>
        </a:p>
      </dgm:t>
    </dgm:pt>
    <dgm:pt modelId="{9A8E135B-E00C-4A85-90E9-C01857A451D4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1167CC5D-AC00-40A4-A9B6-DBE1C791BBF0}" type="parTrans" cxnId="{682D4B00-A3F6-4D98-B494-7C815D59DA54}">
      <dgm:prSet/>
      <dgm:spPr/>
      <dgm:t>
        <a:bodyPr/>
        <a:lstStyle/>
        <a:p>
          <a:endParaRPr lang="en-US"/>
        </a:p>
      </dgm:t>
    </dgm:pt>
    <dgm:pt modelId="{5CFD36CB-6051-4FD7-8CBF-844A503564D5}" type="sibTrans" cxnId="{682D4B00-A3F6-4D98-B494-7C815D59DA54}">
      <dgm:prSet/>
      <dgm:spPr/>
      <dgm:t>
        <a:bodyPr/>
        <a:lstStyle/>
        <a:p>
          <a:endParaRPr lang="en-US"/>
        </a:p>
      </dgm:t>
    </dgm:pt>
    <dgm:pt modelId="{C0F6A5D1-3D47-4549-BF25-E59EA173605B}">
      <dgm:prSet phldrT="[Text]"/>
      <dgm:spPr/>
      <dgm:t>
        <a:bodyPr/>
        <a:lstStyle/>
        <a:p>
          <a:r>
            <a:rPr lang="de-DE" dirty="0"/>
            <a:t>Check 3 Implementation: </a:t>
          </a:r>
          <a:endParaRPr lang="en-US" dirty="0"/>
        </a:p>
      </dgm:t>
    </dgm:pt>
    <dgm:pt modelId="{9FA03F78-7AA6-40F4-857E-277B41E54E29}" type="parTrans" cxnId="{B63A11D3-500F-47BC-9C13-A72B8A64C625}">
      <dgm:prSet/>
      <dgm:spPr/>
      <dgm:t>
        <a:bodyPr/>
        <a:lstStyle/>
        <a:p>
          <a:endParaRPr lang="en-US"/>
        </a:p>
      </dgm:t>
    </dgm:pt>
    <dgm:pt modelId="{38451C1B-9E55-433F-8C28-FD17603A32B8}" type="sibTrans" cxnId="{B63A11D3-500F-47BC-9C13-A72B8A64C625}">
      <dgm:prSet/>
      <dgm:spPr/>
      <dgm:t>
        <a:bodyPr/>
        <a:lstStyle/>
        <a:p>
          <a:endParaRPr lang="en-US"/>
        </a:p>
      </dgm:t>
    </dgm:pt>
    <dgm:pt modelId="{B76A191D-E637-4B61-8FCB-8487CFCE2670}">
      <dgm:prSet phldrT="[Text]"/>
      <dgm:spPr/>
      <dgm:t>
        <a:bodyPr/>
        <a:lstStyle/>
        <a:p>
          <a:r>
            <a:rPr lang="de-DE" dirty="0" err="1"/>
            <a:t>Physical</a:t>
          </a:r>
          <a:endParaRPr lang="en-US" dirty="0"/>
        </a:p>
      </dgm:t>
    </dgm:pt>
    <dgm:pt modelId="{8D6322E5-9807-49CF-9D2F-BEEB39F3076E}" type="parTrans" cxnId="{44E18D62-D8C2-478B-8861-8DAAB3304675}">
      <dgm:prSet/>
      <dgm:spPr/>
      <dgm:t>
        <a:bodyPr/>
        <a:lstStyle/>
        <a:p>
          <a:endParaRPr lang="en-US"/>
        </a:p>
      </dgm:t>
    </dgm:pt>
    <dgm:pt modelId="{24694339-51F2-40F4-847D-67C09F75FC16}" type="sibTrans" cxnId="{44E18D62-D8C2-478B-8861-8DAAB3304675}">
      <dgm:prSet/>
      <dgm:spPr/>
      <dgm:t>
        <a:bodyPr/>
        <a:lstStyle/>
        <a:p>
          <a:endParaRPr lang="en-US"/>
        </a:p>
      </dgm:t>
    </dgm:pt>
    <dgm:pt modelId="{19E46432-CC47-487D-B98F-5C86D1B0AD91}">
      <dgm:prSet phldrT="[Text]"/>
      <dgm:spPr/>
      <dgm:t>
        <a:bodyPr/>
        <a:lstStyle/>
        <a:p>
          <a:r>
            <a:rPr lang="de-DE" dirty="0"/>
            <a:t>GNSS</a:t>
          </a:r>
          <a:endParaRPr lang="en-US" dirty="0"/>
        </a:p>
      </dgm:t>
    </dgm:pt>
    <dgm:pt modelId="{2E6E40C1-1B8B-4884-B31F-FD921C4F1E79}" type="parTrans" cxnId="{84392E39-5500-4A54-9275-3146AE28435B}">
      <dgm:prSet/>
      <dgm:spPr/>
      <dgm:t>
        <a:bodyPr/>
        <a:lstStyle/>
        <a:p>
          <a:endParaRPr lang="en-US"/>
        </a:p>
      </dgm:t>
    </dgm:pt>
    <dgm:pt modelId="{2B84A0B3-DDB6-44A6-949B-34EF29E66B3A}" type="sibTrans" cxnId="{84392E39-5500-4A54-9275-3146AE28435B}">
      <dgm:prSet/>
      <dgm:spPr/>
      <dgm:t>
        <a:bodyPr/>
        <a:lstStyle/>
        <a:p>
          <a:endParaRPr lang="en-US"/>
        </a:p>
      </dgm:t>
    </dgm:pt>
    <dgm:pt modelId="{1073EECD-5F7B-4D75-A1F9-47C88F978103}">
      <dgm:prSet phldrT="[Text]"/>
      <dgm:spPr/>
      <dgm:t>
        <a:bodyPr/>
        <a:lstStyle/>
        <a:p>
          <a:r>
            <a:rPr lang="de-DE" dirty="0" err="1"/>
            <a:t>Baro</a:t>
          </a:r>
          <a:endParaRPr lang="en-US" dirty="0"/>
        </a:p>
      </dgm:t>
    </dgm:pt>
    <dgm:pt modelId="{470ED246-3381-4555-9395-DBA1F7D800A9}" type="parTrans" cxnId="{53E17DD5-038D-4E13-8254-9F777EE61678}">
      <dgm:prSet/>
      <dgm:spPr/>
      <dgm:t>
        <a:bodyPr/>
        <a:lstStyle/>
        <a:p>
          <a:endParaRPr lang="en-US"/>
        </a:p>
      </dgm:t>
    </dgm:pt>
    <dgm:pt modelId="{52303D3C-9187-494C-9C77-EF5C90BD137E}" type="sibTrans" cxnId="{53E17DD5-038D-4E13-8254-9F777EE61678}">
      <dgm:prSet/>
      <dgm:spPr/>
      <dgm:t>
        <a:bodyPr/>
        <a:lstStyle/>
        <a:p>
          <a:endParaRPr lang="en-US"/>
        </a:p>
      </dgm:t>
    </dgm:pt>
    <dgm:pt modelId="{A134B761-21BE-4A44-9906-F22C1614A976}">
      <dgm:prSet phldrT="[Text]"/>
      <dgm:spPr/>
      <dgm:t>
        <a:bodyPr/>
        <a:lstStyle/>
        <a:p>
          <a:r>
            <a:rPr lang="de-DE" dirty="0"/>
            <a:t>Basics: Report </a:t>
          </a:r>
          <a:r>
            <a:rPr lang="de-DE" dirty="0" err="1"/>
            <a:t>structure</a:t>
          </a:r>
          <a:endParaRPr lang="en-US" dirty="0"/>
        </a:p>
      </dgm:t>
    </dgm:pt>
    <dgm:pt modelId="{395820C3-730C-42A7-A255-92831DAA1ACC}" type="parTrans" cxnId="{B1DC116C-B62D-4B2D-A0C7-AF5A987A0358}">
      <dgm:prSet/>
      <dgm:spPr/>
      <dgm:t>
        <a:bodyPr/>
        <a:lstStyle/>
        <a:p>
          <a:endParaRPr lang="en-US"/>
        </a:p>
      </dgm:t>
    </dgm:pt>
    <dgm:pt modelId="{20C409ED-B6B5-49AB-83BF-D7D3D6837988}" type="sibTrans" cxnId="{B1DC116C-B62D-4B2D-A0C7-AF5A987A0358}">
      <dgm:prSet/>
      <dgm:spPr/>
      <dgm:t>
        <a:bodyPr/>
        <a:lstStyle/>
        <a:p>
          <a:endParaRPr lang="en-US"/>
        </a:p>
      </dgm:t>
    </dgm:pt>
    <dgm:pt modelId="{8EA317D4-C740-45C0-A3C1-78FA5837E1B6}">
      <dgm:prSet phldrT="[Text]"/>
      <dgm:spPr/>
      <dgm:t>
        <a:bodyPr/>
        <a:lstStyle/>
        <a:p>
          <a:r>
            <a:rPr lang="de-DE" dirty="0"/>
            <a:t>1: </a:t>
          </a:r>
          <a:r>
            <a:rPr lang="de-DE" dirty="0" err="1"/>
            <a:t>list</a:t>
          </a:r>
          <a:endParaRPr lang="en-US" dirty="0"/>
        </a:p>
      </dgm:t>
    </dgm:pt>
    <dgm:pt modelId="{934C9166-F332-44FE-B554-6421961D2292}" type="parTrans" cxnId="{82774311-EA71-45FC-BE8A-3B2C34178C0E}">
      <dgm:prSet/>
      <dgm:spPr/>
      <dgm:t>
        <a:bodyPr/>
        <a:lstStyle/>
        <a:p>
          <a:endParaRPr lang="en-US"/>
        </a:p>
      </dgm:t>
    </dgm:pt>
    <dgm:pt modelId="{9C179DE0-D43B-4C90-937C-8A6A46C3A7E0}" type="sibTrans" cxnId="{82774311-EA71-45FC-BE8A-3B2C34178C0E}">
      <dgm:prSet/>
      <dgm:spPr/>
      <dgm:t>
        <a:bodyPr/>
        <a:lstStyle/>
        <a:p>
          <a:endParaRPr lang="en-US"/>
        </a:p>
      </dgm:t>
    </dgm:pt>
    <dgm:pt modelId="{10082EF7-A2CD-4448-A665-40E6FFBC0AFE}">
      <dgm:prSet phldrT="[Text]"/>
      <dgm:spPr/>
      <dgm:t>
        <a:bodyPr/>
        <a:lstStyle/>
        <a:p>
          <a:r>
            <a:rPr lang="de-DE" dirty="0"/>
            <a:t>3:Single </a:t>
          </a:r>
          <a:r>
            <a:rPr lang="de-DE" dirty="0" err="1"/>
            <a:t>sensor</a:t>
          </a:r>
          <a:r>
            <a:rPr lang="de-DE" dirty="0"/>
            <a:t>: </a:t>
          </a:r>
          <a:r>
            <a:rPr lang="de-DE" dirty="0" err="1"/>
            <a:t>mean</a:t>
          </a:r>
          <a:r>
            <a:rPr lang="de-DE" dirty="0"/>
            <a:t> </a:t>
          </a:r>
          <a:r>
            <a:rPr lang="de-DE" dirty="0" err="1"/>
            <a:t>value</a:t>
          </a:r>
          <a:r>
            <a:rPr lang="de-DE" dirty="0"/>
            <a:t>, residual, </a:t>
          </a:r>
          <a:r>
            <a:rPr lang="de-DE" dirty="0" err="1"/>
            <a:t>stdev</a:t>
          </a:r>
          <a:endParaRPr lang="en-US" dirty="0"/>
        </a:p>
      </dgm:t>
    </dgm:pt>
    <dgm:pt modelId="{4A7ED0EE-FE63-4236-AB11-2574A5E7BE85}" type="parTrans" cxnId="{A37C6840-E2E5-44D7-B6E5-7EFA8882BA43}">
      <dgm:prSet/>
      <dgm:spPr/>
      <dgm:t>
        <a:bodyPr/>
        <a:lstStyle/>
        <a:p>
          <a:endParaRPr lang="en-US"/>
        </a:p>
      </dgm:t>
    </dgm:pt>
    <dgm:pt modelId="{6F2CA216-0D90-48FB-AE67-D16460495440}" type="sibTrans" cxnId="{A37C6840-E2E5-44D7-B6E5-7EFA8882BA43}">
      <dgm:prSet/>
      <dgm:spPr/>
      <dgm:t>
        <a:bodyPr/>
        <a:lstStyle/>
        <a:p>
          <a:endParaRPr lang="en-US"/>
        </a:p>
      </dgm:t>
    </dgm:pt>
    <dgm:pt modelId="{AFC1CDD3-2595-477F-82AB-07EF9E21B0CE}">
      <dgm:prSet phldrT="[Text]"/>
      <dgm:spPr/>
      <dgm:t>
        <a:bodyPr/>
        <a:lstStyle/>
        <a:p>
          <a:r>
            <a:rPr lang="de-DE" dirty="0"/>
            <a:t>3:whole </a:t>
          </a:r>
          <a:r>
            <a:rPr lang="de-DE" dirty="0" err="1"/>
            <a:t>flight</a:t>
          </a:r>
          <a:r>
            <a:rPr lang="de-DE" dirty="0"/>
            <a:t>: </a:t>
          </a:r>
          <a:r>
            <a:rPr lang="de-DE" dirty="0" err="1"/>
            <a:t>occurences</a:t>
          </a:r>
          <a:endParaRPr lang="en-US" dirty="0"/>
        </a:p>
      </dgm:t>
    </dgm:pt>
    <dgm:pt modelId="{39BD12B6-CC1E-4227-85D8-BEB7F90CC3E4}" type="parTrans" cxnId="{A2691522-F723-40AA-936A-6B826DE8DA30}">
      <dgm:prSet/>
      <dgm:spPr/>
      <dgm:t>
        <a:bodyPr/>
        <a:lstStyle/>
        <a:p>
          <a:endParaRPr lang="en-US"/>
        </a:p>
      </dgm:t>
    </dgm:pt>
    <dgm:pt modelId="{E71AD84C-B98F-424E-8664-29E1D2A4DF31}" type="sibTrans" cxnId="{A2691522-F723-40AA-936A-6B826DE8DA30}">
      <dgm:prSet/>
      <dgm:spPr/>
      <dgm:t>
        <a:bodyPr/>
        <a:lstStyle/>
        <a:p>
          <a:endParaRPr lang="en-US"/>
        </a:p>
      </dgm:t>
    </dgm:pt>
    <dgm:pt modelId="{70C6967F-2CA6-454C-B759-F61259AA6113}">
      <dgm:prSet phldrT="[Text]"/>
      <dgm:spPr/>
      <dgm:t>
        <a:bodyPr/>
        <a:lstStyle/>
        <a:p>
          <a:r>
            <a:rPr lang="de-DE" dirty="0"/>
            <a:t>2: notable </a:t>
          </a:r>
          <a:r>
            <a:rPr lang="de-DE" dirty="0" err="1"/>
            <a:t>occurences</a:t>
          </a:r>
          <a:endParaRPr lang="en-US" dirty="0"/>
        </a:p>
      </dgm:t>
    </dgm:pt>
    <dgm:pt modelId="{EAC7E278-784E-4177-B578-5BD2FC1762E4}" type="parTrans" cxnId="{42D900BC-292B-4C52-9956-0A23E7E5E116}">
      <dgm:prSet/>
      <dgm:spPr/>
      <dgm:t>
        <a:bodyPr/>
        <a:lstStyle/>
        <a:p>
          <a:endParaRPr lang="en-US"/>
        </a:p>
      </dgm:t>
    </dgm:pt>
    <dgm:pt modelId="{1A4E4FB3-3ED3-4AF2-A224-09059E1BE45E}" type="sibTrans" cxnId="{42D900BC-292B-4C52-9956-0A23E7E5E116}">
      <dgm:prSet/>
      <dgm:spPr/>
      <dgm:t>
        <a:bodyPr/>
        <a:lstStyle/>
        <a:p>
          <a:endParaRPr lang="en-US"/>
        </a:p>
      </dgm:t>
    </dgm:pt>
    <dgm:pt modelId="{6F650ABB-418D-46E0-B1CF-A0D53DCB580D}">
      <dgm:prSet phldrT="[Text]"/>
      <dgm:spPr/>
      <dgm:t>
        <a:bodyPr/>
        <a:lstStyle/>
        <a:p>
          <a:r>
            <a:rPr lang="de-DE" dirty="0"/>
            <a:t>Implementation Report</a:t>
          </a:r>
          <a:endParaRPr lang="en-US" dirty="0"/>
        </a:p>
      </dgm:t>
    </dgm:pt>
    <dgm:pt modelId="{F9B8596D-83E7-4B6F-B604-38C1749E9BC9}" type="parTrans" cxnId="{3D0943EF-4E33-4583-B960-758B2E264FE6}">
      <dgm:prSet/>
      <dgm:spPr/>
      <dgm:t>
        <a:bodyPr/>
        <a:lstStyle/>
        <a:p>
          <a:endParaRPr lang="en-US"/>
        </a:p>
      </dgm:t>
    </dgm:pt>
    <dgm:pt modelId="{DC0E2028-7453-405A-8BE2-F8A03F755F6F}" type="sibTrans" cxnId="{3D0943EF-4E33-4583-B960-758B2E264FE6}">
      <dgm:prSet/>
      <dgm:spPr/>
      <dgm:t>
        <a:bodyPr/>
        <a:lstStyle/>
        <a:p>
          <a:endParaRPr lang="en-US"/>
        </a:p>
      </dgm:t>
    </dgm:pt>
    <dgm:pt modelId="{ACBD95ED-3D89-4612-B50F-A953242FAEE2}">
      <dgm:prSet phldrT="[Text]"/>
      <dgm:spPr/>
      <dgm:t>
        <a:bodyPr/>
        <a:lstStyle/>
        <a:p>
          <a:r>
            <a:rPr lang="de-DE" dirty="0"/>
            <a:t>Download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ensors</a:t>
          </a:r>
          <a:endParaRPr lang="en-US" dirty="0"/>
        </a:p>
      </dgm:t>
    </dgm:pt>
    <dgm:pt modelId="{8ECB11DD-17D6-41F8-945B-715CB36AEA8B}" type="parTrans" cxnId="{C9920015-EF6C-457F-8573-21368992278A}">
      <dgm:prSet/>
      <dgm:spPr/>
      <dgm:t>
        <a:bodyPr/>
        <a:lstStyle/>
        <a:p>
          <a:endParaRPr lang="en-US"/>
        </a:p>
      </dgm:t>
    </dgm:pt>
    <dgm:pt modelId="{D492A648-094A-47AC-A5C0-E5B9D6A866E8}" type="sibTrans" cxnId="{C9920015-EF6C-457F-8573-21368992278A}">
      <dgm:prSet/>
      <dgm:spPr/>
      <dgm:t>
        <a:bodyPr/>
        <a:lstStyle/>
        <a:p>
          <a:endParaRPr lang="en-US"/>
        </a:p>
      </dgm:t>
    </dgm:pt>
    <dgm:pt modelId="{6E1ACD17-05DD-4E18-AEAA-EBEC49732FB4}">
      <dgm:prSet phldrT="[Text]"/>
      <dgm:spPr/>
      <dgm:t>
        <a:bodyPr/>
        <a:lstStyle/>
        <a:p>
          <a:r>
            <a:rPr lang="de-DE" dirty="0" err="1"/>
            <a:t>Local</a:t>
          </a:r>
          <a:r>
            <a:rPr lang="de-DE" dirty="0"/>
            <a:t> </a:t>
          </a:r>
          <a:r>
            <a:rPr lang="de-DE" dirty="0" err="1"/>
            <a:t>checking</a:t>
          </a:r>
          <a:endParaRPr lang="en-US" dirty="0"/>
        </a:p>
      </dgm:t>
    </dgm:pt>
    <dgm:pt modelId="{707815F4-46A9-419D-BA8B-61C89A061C60}" type="parTrans" cxnId="{D67CCF88-0B7B-4A80-B5C6-620C268CCC1C}">
      <dgm:prSet/>
      <dgm:spPr/>
      <dgm:t>
        <a:bodyPr/>
        <a:lstStyle/>
        <a:p>
          <a:endParaRPr lang="en-US"/>
        </a:p>
      </dgm:t>
    </dgm:pt>
    <dgm:pt modelId="{D88A5A0B-79C8-4944-8C9E-98179DA08156}" type="sibTrans" cxnId="{D67CCF88-0B7B-4A80-B5C6-620C268CCC1C}">
      <dgm:prSet/>
      <dgm:spPr/>
      <dgm:t>
        <a:bodyPr/>
        <a:lstStyle/>
        <a:p>
          <a:endParaRPr lang="en-US"/>
        </a:p>
      </dgm:t>
    </dgm:pt>
    <dgm:pt modelId="{66ADC303-4A99-4994-B4C2-5130A75EC185}">
      <dgm:prSet phldrT="[Text]"/>
      <dgm:spPr/>
      <dgm:t>
        <a:bodyPr/>
        <a:lstStyle/>
        <a:p>
          <a:r>
            <a:rPr lang="de-DE" dirty="0"/>
            <a:t>Upload </a:t>
          </a:r>
          <a:r>
            <a:rPr lang="de-DE" dirty="0" err="1"/>
            <a:t>of</a:t>
          </a:r>
          <a:r>
            <a:rPr lang="de-DE" dirty="0"/>
            <a:t> JSON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stash</a:t>
          </a:r>
          <a:endParaRPr lang="en-US" dirty="0"/>
        </a:p>
      </dgm:t>
    </dgm:pt>
    <dgm:pt modelId="{8FD81140-6D6F-401A-8706-E20833F83139}" type="parTrans" cxnId="{E78A6938-DBB9-4CC5-9181-FF713EE875DC}">
      <dgm:prSet/>
      <dgm:spPr/>
      <dgm:t>
        <a:bodyPr/>
        <a:lstStyle/>
        <a:p>
          <a:endParaRPr lang="en-US"/>
        </a:p>
      </dgm:t>
    </dgm:pt>
    <dgm:pt modelId="{A33EDFFD-7531-4431-B872-27F99A9AD992}" type="sibTrans" cxnId="{E78A6938-DBB9-4CC5-9181-FF713EE875DC}">
      <dgm:prSet/>
      <dgm:spPr/>
      <dgm:t>
        <a:bodyPr/>
        <a:lstStyle/>
        <a:p>
          <a:endParaRPr lang="en-US"/>
        </a:p>
      </dgm:t>
    </dgm:pt>
    <dgm:pt modelId="{15706013-49E1-4A08-BD2A-D8AA8BAB61D9}">
      <dgm:prSet phldrT="[Text]"/>
      <dgm:spPr/>
      <dgm:t>
        <a:bodyPr/>
        <a:lstStyle/>
        <a:p>
          <a:r>
            <a:rPr lang="de-DE" dirty="0"/>
            <a:t>Analysis Report</a:t>
          </a:r>
          <a:endParaRPr lang="en-US" dirty="0"/>
        </a:p>
      </dgm:t>
    </dgm:pt>
    <dgm:pt modelId="{6A0F0AA9-E98E-4312-95DB-B95D7B816667}" type="parTrans" cxnId="{511BD4D3-6BCB-4E1F-BE05-557F8F475A6C}">
      <dgm:prSet/>
      <dgm:spPr/>
      <dgm:t>
        <a:bodyPr/>
        <a:lstStyle/>
        <a:p>
          <a:endParaRPr lang="en-US"/>
        </a:p>
      </dgm:t>
    </dgm:pt>
    <dgm:pt modelId="{B2D212CD-673A-4506-A3D0-2901BC38D1C5}" type="sibTrans" cxnId="{511BD4D3-6BCB-4E1F-BE05-557F8F475A6C}">
      <dgm:prSet/>
      <dgm:spPr/>
      <dgm:t>
        <a:bodyPr/>
        <a:lstStyle/>
        <a:p>
          <a:endParaRPr lang="en-US"/>
        </a:p>
      </dgm:t>
    </dgm:pt>
    <dgm:pt modelId="{DFECD2C8-36EC-45C5-AC2A-0E12CDD5CB1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errors</a:t>
          </a:r>
          <a:endParaRPr lang="en-US" dirty="0"/>
        </a:p>
      </dgm:t>
    </dgm:pt>
    <dgm:pt modelId="{1BAAC05B-E6BF-46C9-BC6D-0DA03771AF4E}" type="parTrans" cxnId="{13137BCD-D42F-4FE0-9D41-D1A11AD3D02A}">
      <dgm:prSet/>
      <dgm:spPr/>
      <dgm:t>
        <a:bodyPr/>
        <a:lstStyle/>
        <a:p>
          <a:endParaRPr lang="en-US"/>
        </a:p>
      </dgm:t>
    </dgm:pt>
    <dgm:pt modelId="{80852C19-64F7-4C4D-A8B7-688C95F6D5A3}" type="sibTrans" cxnId="{13137BCD-D42F-4FE0-9D41-D1A11AD3D02A}">
      <dgm:prSet/>
      <dgm:spPr/>
      <dgm:t>
        <a:bodyPr/>
        <a:lstStyle/>
        <a:p>
          <a:endParaRPr lang="en-US"/>
        </a:p>
      </dgm:t>
    </dgm:pt>
    <dgm:pt modelId="{AC2F1DB2-003A-42ED-883A-517F34705262}">
      <dgm:prSet phldrT="[Text]"/>
      <dgm:spPr/>
      <dgm:t>
        <a:bodyPr/>
        <a:lstStyle/>
        <a:p>
          <a:r>
            <a:rPr lang="de-DE" dirty="0" err="1"/>
            <a:t>Adapt</a:t>
          </a:r>
          <a:r>
            <a:rPr lang="de-DE" dirty="0"/>
            <a:t> </a:t>
          </a:r>
          <a:r>
            <a:rPr lang="de-DE" dirty="0" err="1"/>
            <a:t>sensitivity</a:t>
          </a:r>
          <a:r>
            <a:rPr lang="de-DE" dirty="0"/>
            <a:t> and </a:t>
          </a:r>
          <a:r>
            <a:rPr lang="de-DE" dirty="0" err="1"/>
            <a:t>algorithms</a:t>
          </a:r>
          <a:r>
            <a:rPr lang="de-DE" dirty="0"/>
            <a:t> (</a:t>
          </a:r>
          <a:r>
            <a:rPr lang="de-DE" dirty="0" err="1"/>
            <a:t>balance</a:t>
          </a:r>
          <a:r>
            <a:rPr lang="de-DE" dirty="0"/>
            <a:t> </a:t>
          </a:r>
          <a:r>
            <a:rPr lang="de-DE" dirty="0" err="1"/>
            <a:t>false</a:t>
          </a:r>
          <a:r>
            <a:rPr lang="de-DE" dirty="0"/>
            <a:t> positives)</a:t>
          </a:r>
          <a:endParaRPr lang="en-US" dirty="0"/>
        </a:p>
      </dgm:t>
    </dgm:pt>
    <dgm:pt modelId="{F0DC8205-28C6-45DE-AAFB-7154C2AFE56B}" type="parTrans" cxnId="{881151A0-ED04-40CD-AD7C-3411DBCA3C06}">
      <dgm:prSet/>
      <dgm:spPr/>
      <dgm:t>
        <a:bodyPr/>
        <a:lstStyle/>
        <a:p>
          <a:endParaRPr lang="en-US"/>
        </a:p>
      </dgm:t>
    </dgm:pt>
    <dgm:pt modelId="{83268803-4A50-437D-BF45-B73B740A2092}" type="sibTrans" cxnId="{881151A0-ED04-40CD-AD7C-3411DBCA3C06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(</a:t>
          </a:r>
          <a:r>
            <a:rPr lang="de-DE" dirty="0" err="1"/>
            <a:t>filled</a:t>
          </a:r>
          <a:r>
            <a:rPr lang="de-DE" dirty="0"/>
            <a:t>)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D336CA26-00BD-4DFB-BC57-8EDDB6A3384B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testing</a:t>
          </a:r>
          <a:r>
            <a:rPr lang="de-DE" dirty="0"/>
            <a:t> 1,2,3 (</a:t>
          </a:r>
          <a:r>
            <a:rPr lang="de-DE" dirty="0" err="1"/>
            <a:t>test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real </a:t>
          </a:r>
          <a:r>
            <a:rPr lang="de-DE" dirty="0" err="1"/>
            <a:t>data</a:t>
          </a:r>
          <a:r>
            <a:rPr lang="de-DE" dirty="0"/>
            <a:t>)</a:t>
          </a:r>
          <a:endParaRPr lang="en-US" dirty="0"/>
        </a:p>
      </dgm:t>
    </dgm:pt>
    <dgm:pt modelId="{669249B4-8AAF-4647-AB19-219288FC75EB}" type="parTrans" cxnId="{023FEFA6-92A6-43B7-8D78-45E091765AAE}">
      <dgm:prSet/>
      <dgm:spPr/>
      <dgm:t>
        <a:bodyPr/>
        <a:lstStyle/>
        <a:p>
          <a:endParaRPr lang="en-US"/>
        </a:p>
      </dgm:t>
    </dgm:pt>
    <dgm:pt modelId="{3F84996F-97A0-4963-A50F-7972C829DE43}" type="sibTrans" cxnId="{023FEFA6-92A6-43B7-8D78-45E091765AAE}">
      <dgm:prSet/>
      <dgm:spPr/>
      <dgm:t>
        <a:bodyPr/>
        <a:lstStyle/>
        <a:p>
          <a:endParaRPr lang="en-US"/>
        </a:p>
      </dgm:t>
    </dgm:pt>
    <dgm:pt modelId="{532D1B92-8C81-4516-A141-6FD2D9A1EC33}">
      <dgm:prSet phldrT="[Text]"/>
      <dgm:spPr/>
      <dgm:t>
        <a:bodyPr/>
        <a:lstStyle/>
        <a:p>
          <a:r>
            <a:rPr lang="de-DE" dirty="0"/>
            <a:t>Plots and </a:t>
          </a:r>
          <a:r>
            <a:rPr lang="de-DE" dirty="0" err="1"/>
            <a:t>comparisons</a:t>
          </a:r>
          <a:endParaRPr lang="en-US" dirty="0"/>
        </a:p>
      </dgm:t>
    </dgm:pt>
    <dgm:pt modelId="{3A65F39A-D405-4FEA-AB27-D6FAAE2005D6}" type="parTrans" cxnId="{206A9533-2D2A-4F07-A0BF-BF7672836B4F}">
      <dgm:prSet/>
      <dgm:spPr/>
      <dgm:t>
        <a:bodyPr/>
        <a:lstStyle/>
        <a:p>
          <a:endParaRPr lang="en-US"/>
        </a:p>
      </dgm:t>
    </dgm:pt>
    <dgm:pt modelId="{8A31169E-A6FD-4850-9D84-67AF0EE67710}" type="sibTrans" cxnId="{206A9533-2D2A-4F07-A0BF-BF7672836B4F}">
      <dgm:prSet/>
      <dgm:spPr/>
      <dgm:t>
        <a:bodyPr/>
        <a:lstStyle/>
        <a:p>
          <a:endParaRPr lang="en-US"/>
        </a:p>
      </dgm:t>
    </dgm:pt>
    <dgm:pt modelId="{D0D18A9C-1C0B-4888-8999-011AD7E7A0D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faulty</a:t>
          </a:r>
          <a:r>
            <a:rPr lang="de-DE" dirty="0"/>
            <a:t> </a:t>
          </a:r>
          <a:r>
            <a:rPr lang="de-DE" dirty="0" err="1"/>
            <a:t>data</a:t>
          </a:r>
          <a:endParaRPr lang="en-US" dirty="0"/>
        </a:p>
      </dgm:t>
    </dgm:pt>
    <dgm:pt modelId="{6A3F06FE-508C-4D18-9C78-48DBD23D1CA9}" type="parTrans" cxnId="{EF50AB89-1E83-40CD-A5A2-BDD829AD4B26}">
      <dgm:prSet/>
      <dgm:spPr/>
      <dgm:t>
        <a:bodyPr/>
        <a:lstStyle/>
        <a:p>
          <a:endParaRPr lang="en-US"/>
        </a:p>
      </dgm:t>
    </dgm:pt>
    <dgm:pt modelId="{2CCF55FA-B600-492C-A1FC-1892CD8485DD}" type="sibTrans" cxnId="{EF50AB89-1E83-40CD-A5A2-BDD829AD4B26}">
      <dgm:prSet/>
      <dgm:spPr/>
      <dgm:t>
        <a:bodyPr/>
        <a:lstStyle/>
        <a:p>
          <a:endParaRPr lang="en-US"/>
        </a:p>
      </dgm:t>
    </dgm:pt>
    <dgm:pt modelId="{80E4DF74-9B71-4F08-82E9-5D35D06282FD}">
      <dgm:prSet phldrT="[Text]"/>
      <dgm:spPr/>
      <dgm:t>
        <a:bodyPr/>
        <a:lstStyle/>
        <a:p>
          <a:r>
            <a:rPr lang="de-DE" dirty="0"/>
            <a:t>ARE RESULTS GOOD?</a:t>
          </a:r>
          <a:endParaRPr lang="en-US" dirty="0"/>
        </a:p>
      </dgm:t>
    </dgm:pt>
    <dgm:pt modelId="{481C55CD-77A6-4023-9DDE-74940078F61E}" type="parTrans" cxnId="{CDDE4A92-83C7-4170-9A5D-EFE71F027A8A}">
      <dgm:prSet/>
      <dgm:spPr/>
      <dgm:t>
        <a:bodyPr/>
        <a:lstStyle/>
        <a:p>
          <a:endParaRPr lang="en-US"/>
        </a:p>
      </dgm:t>
    </dgm:pt>
    <dgm:pt modelId="{19FE0BDB-9CE2-4C8F-B43D-94CAD94765CF}" type="sibTrans" cxnId="{CDDE4A92-83C7-4170-9A5D-EFE71F027A8A}">
      <dgm:prSet/>
      <dgm:spPr/>
      <dgm:t>
        <a:bodyPr/>
        <a:lstStyle/>
        <a:p>
          <a:endParaRPr lang="en-US"/>
        </a:p>
      </dgm:t>
    </dgm:pt>
    <dgm:pt modelId="{48E28473-22CF-4492-8876-9BA2D5799D4D}">
      <dgm:prSet phldrT="[Text]"/>
      <dgm:spPr/>
      <dgm:t>
        <a:bodyPr/>
        <a:lstStyle/>
        <a:p>
          <a:r>
            <a:rPr lang="de-DE" dirty="0" err="1"/>
            <a:t>Comparison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reviously</a:t>
          </a:r>
          <a:r>
            <a:rPr lang="de-DE" dirty="0"/>
            <a:t> </a:t>
          </a:r>
          <a:r>
            <a:rPr lang="de-DE" dirty="0" err="1"/>
            <a:t>developed</a:t>
          </a:r>
          <a:r>
            <a:rPr lang="de-DE" dirty="0"/>
            <a:t> FMEAs</a:t>
          </a:r>
          <a:endParaRPr lang="en-US" dirty="0"/>
        </a:p>
      </dgm:t>
    </dgm:pt>
    <dgm:pt modelId="{EDCD3589-74AF-45C7-B238-6E95BBD8714A}" type="parTrans" cxnId="{47CAA7CB-04FB-4A2B-B629-CB61D7DA06A3}">
      <dgm:prSet/>
      <dgm:spPr/>
      <dgm:t>
        <a:bodyPr/>
        <a:lstStyle/>
        <a:p>
          <a:endParaRPr lang="en-US"/>
        </a:p>
      </dgm:t>
    </dgm:pt>
    <dgm:pt modelId="{62FB02B4-20C3-44D3-91AE-F0BB298D43CE}" type="sibTrans" cxnId="{47CAA7CB-04FB-4A2B-B629-CB61D7DA06A3}">
      <dgm:prSet/>
      <dgm:spPr/>
      <dgm:t>
        <a:bodyPr/>
        <a:lstStyle/>
        <a:p>
          <a:endParaRPr lang="en-US"/>
        </a:p>
      </dgm:t>
    </dgm:pt>
    <dgm:pt modelId="{F4F0CAF2-35CF-4C80-BED1-A980FB230406}">
      <dgm:prSet phldrT="[Text]"/>
      <dgm:spPr/>
      <dgm:t>
        <a:bodyPr/>
        <a:lstStyle/>
        <a:p>
          <a:r>
            <a:rPr lang="de-DE" dirty="0"/>
            <a:t>Rate check </a:t>
          </a:r>
          <a:r>
            <a:rPr lang="de-DE" dirty="0" err="1"/>
            <a:t>quality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arameters</a:t>
          </a:r>
          <a:endParaRPr lang="en-US" dirty="0"/>
        </a:p>
      </dgm:t>
    </dgm:pt>
    <dgm:pt modelId="{C9353AE0-704C-4362-B16A-4932BC8B463C}" type="parTrans" cxnId="{EF7035CF-3B3C-44AC-A2F6-CB512397F779}">
      <dgm:prSet/>
      <dgm:spPr/>
      <dgm:t>
        <a:bodyPr/>
        <a:lstStyle/>
        <a:p>
          <a:endParaRPr lang="en-US"/>
        </a:p>
      </dgm:t>
    </dgm:pt>
    <dgm:pt modelId="{803A075E-C043-4101-9EC4-3AC91C75942D}" type="sibTrans" cxnId="{EF7035CF-3B3C-44AC-A2F6-CB512397F779}">
      <dgm:prSet/>
      <dgm:spPr/>
      <dgm:t>
        <a:bodyPr/>
        <a:lstStyle/>
        <a:p>
          <a:endParaRPr lang="en-US"/>
        </a:p>
      </dgm:t>
    </dgm:pt>
    <dgm:pt modelId="{731889D3-9A8B-49DF-A4E6-FA310097DC5D}">
      <dgm:prSet phldrT="[Text]"/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ecosystem</a:t>
          </a:r>
          <a:endParaRPr lang="en-US" dirty="0"/>
        </a:p>
      </dgm:t>
    </dgm:pt>
    <dgm:pt modelId="{57F3E2BF-AAD0-46D6-A3F0-090027C36F8E}" type="parTrans" cxnId="{E91873FC-B003-43CB-BED5-79EB44A9CDB2}">
      <dgm:prSet/>
      <dgm:spPr/>
      <dgm:t>
        <a:bodyPr/>
        <a:lstStyle/>
        <a:p>
          <a:endParaRPr lang="en-US"/>
        </a:p>
      </dgm:t>
    </dgm:pt>
    <dgm:pt modelId="{58604983-5900-4157-9729-E476175867A6}" type="sibTrans" cxnId="{E91873FC-B003-43CB-BED5-79EB44A9CDB2}">
      <dgm:prSet/>
      <dgm:spPr/>
      <dgm:t>
        <a:bodyPr/>
        <a:lstStyle/>
        <a:p>
          <a:endParaRPr lang="en-US"/>
        </a:p>
      </dgm:t>
    </dgm:pt>
    <dgm:pt modelId="{235D0CE4-E057-41DD-8AC1-A6B62092244D}">
      <dgm:prSet phldrT="[Text]"/>
      <dgm:spPr/>
      <dgm:t>
        <a:bodyPr/>
        <a:lstStyle/>
        <a:p>
          <a:r>
            <a:rPr lang="de-DE" dirty="0" err="1"/>
            <a:t>Toolchain</a:t>
          </a:r>
          <a:r>
            <a:rPr lang="de-DE" dirty="0"/>
            <a:t> FTI-tool</a:t>
          </a:r>
          <a:endParaRPr lang="en-US" dirty="0"/>
        </a:p>
      </dgm:t>
    </dgm:pt>
    <dgm:pt modelId="{E8AEE88D-CDF3-4475-8FE0-8371F9626A05}" type="parTrans" cxnId="{50D1B57B-9AE5-4BDE-BA87-901BCECEC405}">
      <dgm:prSet/>
      <dgm:spPr/>
      <dgm:t>
        <a:bodyPr/>
        <a:lstStyle/>
        <a:p>
          <a:endParaRPr lang="en-US"/>
        </a:p>
      </dgm:t>
    </dgm:pt>
    <dgm:pt modelId="{E0570D84-DFDB-471A-96B0-26CE1CEAB968}" type="sibTrans" cxnId="{50D1B57B-9AE5-4BDE-BA87-901BCECEC405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8E39E8FC-3212-4E41-949D-BC86929C5221}">
      <dgm:prSet phldrT="[Text]"/>
      <dgm:spPr/>
      <dgm:t>
        <a:bodyPr/>
        <a:lstStyle/>
        <a:p>
          <a:r>
            <a:rPr lang="de-DE" dirty="0"/>
            <a:t>API</a:t>
          </a:r>
          <a:endParaRPr lang="en-US" dirty="0"/>
        </a:p>
      </dgm:t>
    </dgm:pt>
    <dgm:pt modelId="{058900F8-972C-4805-8AB9-6EE4AF38EB67}" type="parTrans" cxnId="{4F8E9E69-C70F-4741-B0E3-71F9028FEC72}">
      <dgm:prSet/>
      <dgm:spPr/>
      <dgm:t>
        <a:bodyPr/>
        <a:lstStyle/>
        <a:p>
          <a:endParaRPr lang="en-US"/>
        </a:p>
      </dgm:t>
    </dgm:pt>
    <dgm:pt modelId="{29F90FC1-ABF9-4560-A5BB-2AFE666F5413}" type="sibTrans" cxnId="{4F8E9E69-C70F-4741-B0E3-71F9028FEC72}">
      <dgm:prSet/>
      <dgm:spPr/>
      <dgm:t>
        <a:bodyPr/>
        <a:lstStyle/>
        <a:p>
          <a:endParaRPr lang="en-US"/>
        </a:p>
      </dgm:t>
    </dgm:pt>
    <dgm:pt modelId="{7F4E70F1-20E0-4F73-B680-6448732516E7}">
      <dgm:prSet phldrT="[Text]"/>
      <dgm:spPr/>
      <dgm:t>
        <a:bodyPr/>
        <a:lstStyle/>
        <a:p>
          <a:r>
            <a:rPr lang="de-DE" dirty="0"/>
            <a:t>GNSS (RAIMS)</a:t>
          </a:r>
          <a:endParaRPr lang="en-US" dirty="0"/>
        </a:p>
      </dgm:t>
    </dgm:pt>
    <dgm:pt modelId="{B5AFAED5-1A09-46B5-9F94-01D069E112E5}" type="parTrans" cxnId="{792AFA63-E05B-4E55-B21E-32641FDC800C}">
      <dgm:prSet/>
      <dgm:spPr/>
      <dgm:t>
        <a:bodyPr/>
        <a:lstStyle/>
        <a:p>
          <a:endParaRPr lang="en-US"/>
        </a:p>
      </dgm:t>
    </dgm:pt>
    <dgm:pt modelId="{F132B497-2A6F-40CE-9336-644256629117}" type="sibTrans" cxnId="{792AFA63-E05B-4E55-B21E-32641FDC800C}">
      <dgm:prSet/>
      <dgm:spPr/>
      <dgm:t>
        <a:bodyPr/>
        <a:lstStyle/>
        <a:p>
          <a:endParaRPr lang="en-US"/>
        </a:p>
      </dgm:t>
    </dgm:pt>
    <dgm:pt modelId="{D4D27A7A-AF50-4D78-BA22-1BE79520A3A2}">
      <dgm:prSet phldrT="[Text]"/>
      <dgm:spPr/>
      <dgm:t>
        <a:bodyPr/>
        <a:lstStyle/>
        <a:p>
          <a:r>
            <a:rPr lang="de-DE" dirty="0" err="1"/>
            <a:t>Barohöhe</a:t>
          </a:r>
          <a:endParaRPr lang="en-US" dirty="0"/>
        </a:p>
      </dgm:t>
    </dgm:pt>
    <dgm:pt modelId="{D41A475A-BB75-4422-A108-E36C0B6346D5}" type="parTrans" cxnId="{7F842070-0968-4911-BFF6-9D12DE2A256D}">
      <dgm:prSet/>
      <dgm:spPr/>
      <dgm:t>
        <a:bodyPr/>
        <a:lstStyle/>
        <a:p>
          <a:endParaRPr lang="en-US"/>
        </a:p>
      </dgm:t>
    </dgm:pt>
    <dgm:pt modelId="{13196387-615B-4C98-B4D2-FA421E8A9F9A}" type="sibTrans" cxnId="{7F842070-0968-4911-BFF6-9D12DE2A256D}">
      <dgm:prSet/>
      <dgm:spPr/>
      <dgm:t>
        <a:bodyPr/>
        <a:lstStyle/>
        <a:p>
          <a:endParaRPr lang="en-US"/>
        </a:p>
      </dgm:t>
    </dgm:pt>
    <dgm:pt modelId="{8061C7C4-EE96-4728-9407-A96630B6070F}">
      <dgm:prSet phldrT="[Text]"/>
      <dgm:spPr/>
      <dgm:t>
        <a:bodyPr/>
        <a:lstStyle/>
        <a:p>
          <a:r>
            <a:rPr lang="de-DE" dirty="0"/>
            <a:t>Notwendig</a:t>
          </a:r>
          <a:endParaRPr lang="en-US" dirty="0"/>
        </a:p>
      </dgm:t>
    </dgm:pt>
    <dgm:pt modelId="{7FC80B98-1753-4DAF-8315-4AEE8ED8A37A}" type="parTrans" cxnId="{FEAA295A-F1F4-40DC-A715-2E315E7FBD98}">
      <dgm:prSet/>
      <dgm:spPr/>
      <dgm:t>
        <a:bodyPr/>
        <a:lstStyle/>
        <a:p>
          <a:endParaRPr lang="en-US"/>
        </a:p>
      </dgm:t>
    </dgm:pt>
    <dgm:pt modelId="{005E3FC6-870E-49AA-9A9D-1F5FF275B37B}" type="sibTrans" cxnId="{FEAA295A-F1F4-40DC-A715-2E315E7FBD98}">
      <dgm:prSet/>
      <dgm:spPr/>
      <dgm:t>
        <a:bodyPr/>
        <a:lstStyle/>
        <a:p>
          <a:endParaRPr lang="en-US"/>
        </a:p>
      </dgm:t>
    </dgm:pt>
    <dgm:pt modelId="{86B0D516-B4A8-4052-941D-8360DA01930A}">
      <dgm:prSet phldrT="[Text]"/>
      <dgm:spPr/>
      <dgm:t>
        <a:bodyPr/>
        <a:lstStyle/>
        <a:p>
          <a:r>
            <a:rPr lang="de-DE" dirty="0"/>
            <a:t>All Parameters </a:t>
          </a:r>
          <a:r>
            <a:rPr lang="de-DE" dirty="0" err="1"/>
            <a:t>present</a:t>
          </a:r>
          <a:r>
            <a:rPr lang="de-DE" dirty="0"/>
            <a:t>?</a:t>
          </a:r>
          <a:endParaRPr lang="en-US" dirty="0"/>
        </a:p>
      </dgm:t>
    </dgm:pt>
    <dgm:pt modelId="{C2C0BBF5-C699-4139-AC78-4664708FB71F}" type="parTrans" cxnId="{81CC0D1C-5645-4B0E-96C4-B4F53EC2695F}">
      <dgm:prSet/>
      <dgm:spPr/>
      <dgm:t>
        <a:bodyPr/>
        <a:lstStyle/>
        <a:p>
          <a:endParaRPr lang="de-DE"/>
        </a:p>
      </dgm:t>
    </dgm:pt>
    <dgm:pt modelId="{EAD45A1F-5D84-4138-9B7B-DE3EB275DC60}" type="sibTrans" cxnId="{81CC0D1C-5645-4B0E-96C4-B4F53EC2695F}">
      <dgm:prSet/>
      <dgm:spPr/>
      <dgm:t>
        <a:bodyPr/>
        <a:lstStyle/>
        <a:p>
          <a:endParaRPr lang="de-DE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85360F49-471D-4741-B2F6-D9EDD2002CA4}" type="pres">
      <dgm:prSet presAssocID="{791B3165-ABE6-4D91-831A-7C0D48536531}" presName="parTrans" presStyleCnt="0"/>
      <dgm:spPr/>
    </dgm:pt>
    <dgm:pt modelId="{AB408634-0CD4-418B-9B48-9AAC90E1180B}" type="pres">
      <dgm:prSet presAssocID="{45C31CF2-1399-41FB-A23F-5E22D0A16E7E}" presName="node" presStyleLbl="alignAccFollowNode1" presStyleIdx="0" presStyleCnt="35">
        <dgm:presLayoutVars>
          <dgm:bulletEnabled val="1"/>
        </dgm:presLayoutVars>
      </dgm:prSet>
      <dgm:spPr/>
    </dgm:pt>
    <dgm:pt modelId="{7FE3EBDE-25D4-4CC8-A11E-57D85BEF7B7E}" type="pres">
      <dgm:prSet presAssocID="{8D732E18-7D0B-454B-9DB2-D78927E8ECE7}" presName="sibTrans" presStyleCnt="0"/>
      <dgm:spPr/>
    </dgm:pt>
    <dgm:pt modelId="{B799F94F-6E46-4AFE-8722-BF49A0D459B0}" type="pres">
      <dgm:prSet presAssocID="{FA48B597-83D3-4C01-A8E3-D795138E9701}" presName="node" presStyleLbl="alignAccFollowNode1" presStyleIdx="1" presStyleCnt="35">
        <dgm:presLayoutVars>
          <dgm:bulletEnabled val="1"/>
        </dgm:presLayoutVars>
      </dgm:prSet>
      <dgm:spPr/>
    </dgm:pt>
    <dgm:pt modelId="{77347160-F8A1-4072-A581-D36C3D764227}" type="pres">
      <dgm:prSet presAssocID="{76C20D21-071E-40EA-8907-304A6EA2D201}" presName="sibTrans" presStyleCnt="0"/>
      <dgm:spPr/>
    </dgm:pt>
    <dgm:pt modelId="{033985E6-5141-4244-8446-F5E7A99A21F5}" type="pres">
      <dgm:prSet presAssocID="{16F57EB3-4270-46BB-88A7-10CC9C3D84A2}" presName="node" presStyleLbl="alignAccFollowNode1" presStyleIdx="2" presStyleCnt="35">
        <dgm:presLayoutVars>
          <dgm:bulletEnabled val="1"/>
        </dgm:presLayoutVars>
      </dgm:prSet>
      <dgm:spPr/>
    </dgm:pt>
    <dgm:pt modelId="{8D8D0EAC-2A93-4E79-AC42-7AF83AB30DD0}" type="pres">
      <dgm:prSet presAssocID="{897C9165-AD4A-4F4D-97D0-D8C8BC61FEB0}" presName="sibTrans" presStyleCnt="0"/>
      <dgm:spPr/>
    </dgm:pt>
    <dgm:pt modelId="{97363E8B-2CC9-40F8-81D2-82C1783BFD27}" type="pres">
      <dgm:prSet presAssocID="{DFC29465-D683-4C36-8F69-F44119F668DC}" presName="node" presStyleLbl="alignAccFollowNode1" presStyleIdx="3" presStyleCnt="35">
        <dgm:presLayoutVars>
          <dgm:bulletEnabled val="1"/>
        </dgm:presLayoutVars>
      </dgm:prSet>
      <dgm:spPr/>
    </dgm:pt>
    <dgm:pt modelId="{AFFCAE47-A95B-4517-83FC-147BF3409FE7}" type="pres">
      <dgm:prSet presAssocID="{2C9E4EA8-B922-4CD1-8C7E-738D1E9D46E9}" presName="sibTrans" presStyleCnt="0"/>
      <dgm:spPr/>
    </dgm:pt>
    <dgm:pt modelId="{124996E3-18A0-40C5-A8C3-F871998D91BE}" type="pres">
      <dgm:prSet presAssocID="{8D5AA78A-7D4A-459F-A2B3-FC480199B0C4}" presName="node" presStyleLbl="alignAccFollowNode1" presStyleIdx="4" presStyleCnt="35">
        <dgm:presLayoutVars>
          <dgm:bulletEnabled val="1"/>
        </dgm:presLayoutVars>
      </dgm:prSet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5" presStyleCnt="35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6" presStyleCnt="35">
        <dgm:presLayoutVars>
          <dgm:bulletEnabled val="1"/>
        </dgm:presLayoutVars>
      </dgm:prSet>
      <dgm:spPr/>
    </dgm:pt>
    <dgm:pt modelId="{B79F2844-8238-437F-99D2-564FD93585FD}" type="pres">
      <dgm:prSet presAssocID="{088A9925-EA84-4D04-B5F7-33883F73DE0C}" presName="sibTrans" presStyleCnt="0"/>
      <dgm:spPr/>
    </dgm:pt>
    <dgm:pt modelId="{2A1098A4-3513-4B7B-BD95-A66078137AE3}" type="pres">
      <dgm:prSet presAssocID="{8C4BCE95-DBE2-491A-AF55-DEF5FAB9CAB2}" presName="node" presStyleLbl="alignAccFollowNode1" presStyleIdx="7" presStyleCnt="35">
        <dgm:presLayoutVars>
          <dgm:bulletEnabled val="1"/>
        </dgm:presLayoutVars>
      </dgm:prSet>
      <dgm:spPr/>
    </dgm:pt>
    <dgm:pt modelId="{72208E97-278E-4C5F-93E0-5F3EE72C1D56}" type="pres">
      <dgm:prSet presAssocID="{65C21097-63D2-4163-8703-B701C48FB4E4}" presName="sibTrans" presStyleCnt="0"/>
      <dgm:spPr/>
    </dgm:pt>
    <dgm:pt modelId="{6E769E55-F845-496F-AAE9-AEB37C279700}" type="pres">
      <dgm:prSet presAssocID="{45E7156B-EE0A-4FC0-82D2-4361B6D0C4A3}" presName="node" presStyleLbl="alignAccFollowNode1" presStyleIdx="8" presStyleCnt="35">
        <dgm:presLayoutVars>
          <dgm:bulletEnabled val="1"/>
        </dgm:presLayoutVars>
      </dgm:prSet>
      <dgm:spPr/>
    </dgm:pt>
    <dgm:pt modelId="{C17C3999-1657-40CE-846C-998B2346B3E5}" type="pres">
      <dgm:prSet presAssocID="{E6521B79-093A-4B03-920E-43CAD89D44AB}" presName="sibTrans" presStyleCnt="0"/>
      <dgm:spPr/>
    </dgm:pt>
    <dgm:pt modelId="{D8F53325-EF29-4B74-924F-477EBC447ED4}" type="pres">
      <dgm:prSet presAssocID="{4C5CEF2E-C3F6-4329-90E4-6B3F79B4FA16}" presName="node" presStyleLbl="alignAccFollowNode1" presStyleIdx="9" presStyleCnt="35">
        <dgm:presLayoutVars>
          <dgm:bulletEnabled val="1"/>
        </dgm:presLayoutVars>
      </dgm:prSet>
      <dgm:spPr/>
    </dgm:pt>
    <dgm:pt modelId="{5FFE736A-077A-4C59-AF06-2826D534B334}" type="pres">
      <dgm:prSet presAssocID="{6EEEB7C0-D6D2-433C-BCAE-8BD03992BD92}" presName="sibTrans" presStyleCnt="0"/>
      <dgm:spPr/>
    </dgm:pt>
    <dgm:pt modelId="{2C06F546-EA30-436F-8D4A-E4407A3829E9}" type="pres">
      <dgm:prSet presAssocID="{E663F039-0D4F-487A-BB4E-5490196C0BCB}" presName="node" presStyleLbl="alignAccFollowNode1" presStyleIdx="10" presStyleCnt="35">
        <dgm:presLayoutVars>
          <dgm:bulletEnabled val="1"/>
        </dgm:presLayoutVars>
      </dgm:prSet>
      <dgm:spPr/>
    </dgm:pt>
    <dgm:pt modelId="{BB197CDA-944E-4A23-AC82-56DB906F30A7}" type="pres">
      <dgm:prSet presAssocID="{3F717E84-E328-416B-AEA8-1FBFD7565F06}" presName="sibTrans" presStyleCnt="0"/>
      <dgm:spPr/>
    </dgm:pt>
    <dgm:pt modelId="{3D2C3AB3-0DCD-4465-B025-265BBB0F4EE7}" type="pres">
      <dgm:prSet presAssocID="{2EF03786-0E40-4942-9E4D-A13C64FDBF0E}" presName="node" presStyleLbl="alignAccFollowNode1" presStyleIdx="11" presStyleCnt="35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12" presStyleCnt="35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13" presStyleCnt="35">
        <dgm:presLayoutVars>
          <dgm:bulletEnabled val="1"/>
        </dgm:presLayoutVars>
      </dgm:prSet>
      <dgm:spPr/>
    </dgm:pt>
    <dgm:pt modelId="{59453FB8-A3D3-4D6C-B3A7-5B364C6976B9}" type="pres">
      <dgm:prSet presAssocID="{753B4432-E124-4D17-8343-7AD4202281EA}" presName="sibTrans" presStyleCnt="0"/>
      <dgm:spPr/>
    </dgm:pt>
    <dgm:pt modelId="{88F8DB6A-BAC0-4205-AF9B-AC35A6DB9946}" type="pres">
      <dgm:prSet presAssocID="{46FE586A-F3D2-4623-944F-10E7F24ECE62}" presName="node" presStyleLbl="alignAccFollowNode1" presStyleIdx="14" presStyleCnt="35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15" presStyleCnt="35">
        <dgm:presLayoutVars>
          <dgm:bulletEnabled val="1"/>
        </dgm:presLayoutVars>
      </dgm:prSet>
      <dgm:spPr/>
    </dgm:pt>
    <dgm:pt modelId="{3C053D23-560D-4096-961F-C0A72BDE14E7}" type="pres">
      <dgm:prSet presAssocID="{9DC24EDD-FDD8-4782-A280-0191EEF884FE}" presName="sibTrans" presStyleCnt="0"/>
      <dgm:spPr/>
    </dgm:pt>
    <dgm:pt modelId="{00B3F7D8-6565-4D22-949D-BF8502682C48}" type="pres">
      <dgm:prSet presAssocID="{4FD3EB63-D496-4E04-8463-EB7FACF896F2}" presName="node" presStyleLbl="alignAccFollowNode1" presStyleIdx="16" presStyleCnt="35">
        <dgm:presLayoutVars>
          <dgm:bulletEnabled val="1"/>
        </dgm:presLayoutVars>
      </dgm:prSet>
      <dgm:spPr/>
    </dgm:pt>
    <dgm:pt modelId="{923868AD-8434-4209-BB37-7DE03855E415}" type="pres">
      <dgm:prSet presAssocID="{0B904BD0-6B86-403B-87D2-378C5E4E2FF5}" presName="sibTrans" presStyleCnt="0"/>
      <dgm:spPr/>
    </dgm:pt>
    <dgm:pt modelId="{A99EBA47-DCD0-4C3C-B14C-8C6E6B58820A}" type="pres">
      <dgm:prSet presAssocID="{3B523FDC-D939-49CA-A97B-7F40BE9FC06F}" presName="node" presStyleLbl="alignAccFollowNode1" presStyleIdx="17" presStyleCnt="35">
        <dgm:presLayoutVars>
          <dgm:bulletEnabled val="1"/>
        </dgm:presLayoutVars>
      </dgm:prSet>
      <dgm:spPr/>
    </dgm:pt>
    <dgm:pt modelId="{D75F991F-A68D-4650-9661-9078CD70D619}" type="pres">
      <dgm:prSet presAssocID="{3EF824F1-9906-4F03-8074-28279C88605E}" presName="sibTrans" presStyleCnt="0"/>
      <dgm:spPr/>
    </dgm:pt>
    <dgm:pt modelId="{6E4A71A1-6835-4BF5-B851-CC10F4365704}" type="pres">
      <dgm:prSet presAssocID="{E2BFE4DF-4103-44A7-8AB7-0892C701EE46}" presName="node" presStyleLbl="alignAccFollowNode1" presStyleIdx="18" presStyleCnt="35">
        <dgm:presLayoutVars>
          <dgm:bulletEnabled val="1"/>
        </dgm:presLayoutVars>
      </dgm:prSet>
      <dgm:spPr/>
    </dgm:pt>
    <dgm:pt modelId="{C45BD703-394C-41DC-A262-0E41328AD549}" type="pres">
      <dgm:prSet presAssocID="{B7272AF2-8DA7-4410-8330-6665F5EEF904}" presName="sibTrans" presStyleCnt="0"/>
      <dgm:spPr/>
    </dgm:pt>
    <dgm:pt modelId="{A4AB4759-E8C6-49A0-A564-966AB7A18535}" type="pres">
      <dgm:prSet presAssocID="{3FD8E3B0-4765-40A9-A706-1B2AEA1D1606}" presName="node" presStyleLbl="alignAccFollowNode1" presStyleIdx="19" presStyleCnt="35">
        <dgm:presLayoutVars>
          <dgm:bulletEnabled val="1"/>
        </dgm:presLayoutVars>
      </dgm:prSet>
      <dgm:spPr/>
    </dgm:pt>
    <dgm:pt modelId="{CC69AD36-395B-4910-A22B-7A1C30DD733B}" type="pres">
      <dgm:prSet presAssocID="{278EAE6B-A731-4C98-927A-7FEEF0FD5A90}" presName="sibTrans" presStyleCnt="0"/>
      <dgm:spPr/>
    </dgm:pt>
    <dgm:pt modelId="{31E649D0-43E7-4884-9A60-1A15855F39BA}" type="pres">
      <dgm:prSet presAssocID="{C0F6A5D1-3D47-4549-BF25-E59EA173605B}" presName="node" presStyleLbl="alignAccFollowNode1" presStyleIdx="20" presStyleCnt="35">
        <dgm:presLayoutVars>
          <dgm:bulletEnabled val="1"/>
        </dgm:presLayoutVars>
      </dgm:prSet>
      <dgm:spPr/>
    </dgm:pt>
    <dgm:pt modelId="{A8BCA8DB-2BD6-4B00-B4BF-194A8609C8CD}" type="pres">
      <dgm:prSet presAssocID="{38451C1B-9E55-433F-8C28-FD17603A32B8}" presName="sibTrans" presStyleCnt="0"/>
      <dgm:spPr/>
    </dgm:pt>
    <dgm:pt modelId="{5CB538A3-C5E2-491F-B986-B059DC4B43E3}" type="pres">
      <dgm:prSet presAssocID="{A134B761-21BE-4A44-9906-F22C1614A976}" presName="node" presStyleLbl="alignAccFollowNode1" presStyleIdx="21" presStyleCnt="35">
        <dgm:presLayoutVars>
          <dgm:bulletEnabled val="1"/>
        </dgm:presLayoutVars>
      </dgm:prSet>
      <dgm:spPr/>
    </dgm:pt>
    <dgm:pt modelId="{1F14A886-3793-43C8-8C4A-E87EC61F8109}" type="pres">
      <dgm:prSet presAssocID="{20C409ED-B6B5-49AB-83BF-D7D3D6837988}" presName="sibTrans" presStyleCnt="0"/>
      <dgm:spPr/>
    </dgm:pt>
    <dgm:pt modelId="{E6221567-4E16-48A1-9CDA-179AED124105}" type="pres">
      <dgm:prSet presAssocID="{6F650ABB-418D-46E0-B1CF-A0D53DCB580D}" presName="node" presStyleLbl="alignAccFollowNode1" presStyleIdx="22" presStyleCnt="35">
        <dgm:presLayoutVars>
          <dgm:bulletEnabled val="1"/>
        </dgm:presLayoutVars>
      </dgm:prSet>
      <dgm:spPr/>
    </dgm:pt>
    <dgm:pt modelId="{D6766100-C3AC-431E-BFF6-ADA1F34EBFA4}" type="pres">
      <dgm:prSet presAssocID="{DC0E2028-7453-405A-8BE2-F8A03F755F6F}" presName="sibTrans" presStyleCnt="0"/>
      <dgm:spPr/>
    </dgm:pt>
    <dgm:pt modelId="{0698A4C8-E648-44FD-B978-F618BEA7BF67}" type="pres">
      <dgm:prSet presAssocID="{15706013-49E1-4A08-BD2A-D8AA8BAB61D9}" presName="node" presStyleLbl="alignAccFollowNode1" presStyleIdx="23" presStyleCnt="35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24" presStyleCnt="35">
        <dgm:presLayoutVars>
          <dgm:bulletEnabled val="1"/>
        </dgm:presLayoutVars>
      </dgm:prSet>
      <dgm:spPr/>
    </dgm:pt>
    <dgm:pt modelId="{8E3C2EC8-0769-4D07-B904-4443756E2539}" type="pres">
      <dgm:prSet presAssocID="{6A3A0533-BD9B-4052-9EFC-BA2A3A98B66D}" presName="sibTrans" presStyleCnt="0"/>
      <dgm:spPr/>
    </dgm:pt>
    <dgm:pt modelId="{EAA8E325-C720-45F2-AE8A-9C1634D2678E}" type="pres">
      <dgm:prSet presAssocID="{D336CA26-00BD-4DFB-BC57-8EDDB6A3384B}" presName="node" presStyleLbl="alignAccFollowNode1" presStyleIdx="25" presStyleCnt="35">
        <dgm:presLayoutVars>
          <dgm:bulletEnabled val="1"/>
        </dgm:presLayoutVars>
      </dgm:prSet>
      <dgm:spPr/>
    </dgm:pt>
    <dgm:pt modelId="{2073E1C3-4D3F-40B5-9212-0CEC5AF51C42}" type="pres">
      <dgm:prSet presAssocID="{3F84996F-97A0-4963-A50F-7972C829DE43}" presName="sibTrans" presStyleCnt="0"/>
      <dgm:spPr/>
    </dgm:pt>
    <dgm:pt modelId="{C2C8C981-CBE7-44A9-8233-ECFC3222A3E7}" type="pres">
      <dgm:prSet presAssocID="{532D1B92-8C81-4516-A141-6FD2D9A1EC33}" presName="node" presStyleLbl="alignAccFollowNode1" presStyleIdx="26" presStyleCnt="35">
        <dgm:presLayoutVars>
          <dgm:bulletEnabled val="1"/>
        </dgm:presLayoutVars>
      </dgm:prSet>
      <dgm:spPr/>
    </dgm:pt>
    <dgm:pt modelId="{98F66B43-BC9C-4AEA-AA87-F43907C37BD9}" type="pres">
      <dgm:prSet presAssocID="{8A31169E-A6FD-4850-9D84-67AF0EE67710}" presName="sibTrans" presStyleCnt="0"/>
      <dgm:spPr/>
    </dgm:pt>
    <dgm:pt modelId="{2BD73D85-B022-4EA6-B1B0-3C5278273746}" type="pres">
      <dgm:prSet presAssocID="{D0D18A9C-1C0B-4888-8999-011AD7E7A0D3}" presName="node" presStyleLbl="alignAccFollowNode1" presStyleIdx="27" presStyleCnt="35">
        <dgm:presLayoutVars>
          <dgm:bulletEnabled val="1"/>
        </dgm:presLayoutVars>
      </dgm:prSet>
      <dgm:spPr/>
    </dgm:pt>
    <dgm:pt modelId="{1772F705-0EE5-49AF-8AEA-86F86F8B845F}" type="pres">
      <dgm:prSet presAssocID="{2CCF55FA-B600-492C-A1FC-1892CD8485DD}" presName="sibTrans" presStyleCnt="0"/>
      <dgm:spPr/>
    </dgm:pt>
    <dgm:pt modelId="{874395BE-040C-4706-B13E-3A6D4A6A57CF}" type="pres">
      <dgm:prSet presAssocID="{80E4DF74-9B71-4F08-82E9-5D35D06282FD}" presName="node" presStyleLbl="alignAccFollowNode1" presStyleIdx="28" presStyleCnt="35">
        <dgm:presLayoutVars>
          <dgm:bulletEnabled val="1"/>
        </dgm:presLayoutVars>
      </dgm:prSet>
      <dgm:spPr/>
    </dgm:pt>
    <dgm:pt modelId="{CFD5B519-88DA-453A-9D67-C7C581AFE891}" type="pres">
      <dgm:prSet presAssocID="{19FE0BDB-9CE2-4C8F-B43D-94CAD94765CF}" presName="sibTrans" presStyleCnt="0"/>
      <dgm:spPr/>
    </dgm:pt>
    <dgm:pt modelId="{85D7B7D3-83F5-4C9A-8D00-3A8450F954C1}" type="pres">
      <dgm:prSet presAssocID="{731889D3-9A8B-49DF-A4E6-FA310097DC5D}" presName="node" presStyleLbl="alignAccFollowNode1" presStyleIdx="29" presStyleCnt="35">
        <dgm:presLayoutVars>
          <dgm:bulletEnabled val="1"/>
        </dgm:presLayoutVars>
      </dgm:prSet>
      <dgm:spPr/>
    </dgm:pt>
    <dgm:pt modelId="{4C579025-8AC9-4066-B6D1-1A1337DB3CF1}" type="pres">
      <dgm:prSet presAssocID="{58604983-5900-4157-9729-E476175867A6}" presName="sibTrans" presStyleCnt="0"/>
      <dgm:spPr/>
    </dgm:pt>
    <dgm:pt modelId="{E69D14FB-5309-47A4-99A0-AD5CA610ACAB}" type="pres">
      <dgm:prSet presAssocID="{235D0CE4-E057-41DD-8AC1-A6B62092244D}" presName="node" presStyleLbl="alignAccFollowNode1" presStyleIdx="30" presStyleCnt="35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31" presStyleCnt="35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32" presStyleCnt="35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33" presStyleCnt="35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34" presStyleCnt="35">
        <dgm:presLayoutVars>
          <dgm:bulletEnabled val="1"/>
        </dgm:presLayoutVars>
      </dgm:prSet>
      <dgm:spPr/>
    </dgm:pt>
  </dgm:ptLst>
  <dgm:cxnLst>
    <dgm:cxn modelId="{682D4B00-A3F6-4D98-B494-7C815D59DA54}" srcId="{3FD8E3B0-4765-40A9-A706-1B2AEA1D1606}" destId="{9A8E135B-E00C-4A85-90E9-C01857A451D4}" srcOrd="4" destOrd="0" parTransId="{1167CC5D-AC00-40A4-A9B6-DBE1C791BBF0}" sibTransId="{5CFD36CB-6051-4FD7-8CBF-844A503564D5}"/>
    <dgm:cxn modelId="{8C877701-66D5-419E-B4F6-10D719B9ED95}" type="presOf" srcId="{B89E4D08-69C3-48C2-B2EF-34D97470F8CD}" destId="{D8F53325-EF29-4B74-924F-477EBC447ED4}" srcOrd="0" destOrd="4" presId="urn:microsoft.com/office/officeart/2005/8/layout/lProcess3"/>
    <dgm:cxn modelId="{296EEA01-3D69-447A-95B5-436EA6C15FBD}" type="presOf" srcId="{8DD704C5-97CB-49C7-8BD8-7DFD53E5A85D}" destId="{B799F94F-6E46-4AFE-8722-BF49A0D459B0}" srcOrd="0" destOrd="2" presId="urn:microsoft.com/office/officeart/2005/8/layout/lProcess3"/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1C794504-EBD0-4864-9CC1-2E137CB4BA47}" type="presOf" srcId="{80E4DF74-9B71-4F08-82E9-5D35D06282FD}" destId="{874395BE-040C-4706-B13E-3A6D4A6A57CF}" srcOrd="0" destOrd="0" presId="urn:microsoft.com/office/officeart/2005/8/layout/lProcess3"/>
    <dgm:cxn modelId="{A2BD9704-6256-4138-930E-1F3215A613AC}" srcId="{2BCEC983-9CA3-402E-A9EE-A2ACFBC6F26A}" destId="{219C9023-EF54-47A7-8400-C4493040DC4B}" srcOrd="2" destOrd="0" parTransId="{5804E1F5-3856-4B41-9AD4-D969C4D87856}" sibTransId="{4B0DE63C-85F8-4A91-8B2F-36E68CBE4429}"/>
    <dgm:cxn modelId="{4737E504-3D54-463C-A5F7-8445C73AA300}" srcId="{D8F898B2-0F32-4494-9828-6BA12EADCED9}" destId="{8D5AA78A-7D4A-459F-A2B3-FC480199B0C4}" srcOrd="4" destOrd="0" parTransId="{230B062B-D34E-4F36-9471-0560F7C0F869}" sibTransId="{829C1AD4-F788-4CDC-BAB0-E26F39962F70}"/>
    <dgm:cxn modelId="{EB4C0205-0326-4729-B4C9-83D22CE2410E}" type="presOf" srcId="{AC2F1DB2-003A-42ED-883A-517F34705262}" destId="{0698A4C8-E648-44FD-B978-F618BEA7BF67}" srcOrd="0" destOrd="2" presId="urn:microsoft.com/office/officeart/2005/8/layout/lProcess3"/>
    <dgm:cxn modelId="{D74DC805-C4D5-47BC-8AFD-333E6E426BD9}" type="presOf" srcId="{D0D18A9C-1C0B-4888-8999-011AD7E7A0D3}" destId="{2BD73D85-B022-4EA6-B1B0-3C5278273746}" srcOrd="0" destOrd="0" presId="urn:microsoft.com/office/officeart/2005/8/layout/lProcess3"/>
    <dgm:cxn modelId="{842A1209-566B-4A99-B0D6-5440E3E1DBDF}" type="presOf" srcId="{0EE81264-9DD8-4939-9568-6189003709C3}" destId="{D8F53325-EF29-4B74-924F-477EBC447ED4}" srcOrd="0" destOrd="1" presId="urn:microsoft.com/office/officeart/2005/8/layout/lProcess3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F837A609-DB42-4195-9BA2-6E3F31AF3806}" srcId="{2BCEC983-9CA3-402E-A9EE-A2ACFBC6F26A}" destId="{5320ABCD-429D-4135-9CD7-4191E7D5ECC3}" srcOrd="1" destOrd="0" parTransId="{1B5CFC53-20AF-4C63-A360-654CF467EBC4}" sibTransId="{55A30335-2AD8-4475-8D54-A7AC9307A73D}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565FDE0D-02C3-4304-A510-5CBAD348338F}" type="presOf" srcId="{21F139D4-2183-4298-B18B-3E7EDBDE255D}" destId="{97363E8B-2CC9-40F8-81D2-82C1783BFD27}" srcOrd="0" destOrd="2" presId="urn:microsoft.com/office/officeart/2005/8/layout/lProcess3"/>
    <dgm:cxn modelId="{2A55A510-A24B-492D-989B-F6E5C0539F89}" type="presOf" srcId="{7085B993-51ED-4F14-8E6C-0F1457C813C8}" destId="{2A1098A4-3513-4B7B-BD95-A66078137AE3}" srcOrd="0" destOrd="2" presId="urn:microsoft.com/office/officeart/2005/8/layout/lProcess3"/>
    <dgm:cxn modelId="{82774311-EA71-45FC-BE8A-3B2C34178C0E}" srcId="{A134B761-21BE-4A44-9906-F22C1614A976}" destId="{8EA317D4-C740-45C0-A3C1-78FA5837E1B6}" srcOrd="0" destOrd="0" parTransId="{934C9166-F332-44FE-B554-6421961D2292}" sibTransId="{9C179DE0-D43B-4C90-937C-8A6A46C3A7E0}"/>
    <dgm:cxn modelId="{C9920015-EF6C-457F-8573-21368992278A}" srcId="{6F650ABB-418D-46E0-B1CF-A0D53DCB580D}" destId="{ACBD95ED-3D89-4612-B50F-A953242FAEE2}" srcOrd="0" destOrd="0" parTransId="{8ECB11DD-17D6-41F8-945B-715CB36AEA8B}" sibTransId="{D492A648-094A-47AC-A5C0-E5B9D6A866E8}"/>
    <dgm:cxn modelId="{A64D8416-2501-4D07-80BB-9D26169C65BD}" srcId="{16F57EB3-4270-46BB-88A7-10CC9C3D84A2}" destId="{4246D174-BED3-48D1-8689-7D4D319BDC60}" srcOrd="2" destOrd="0" parTransId="{5C6652BE-C0FD-462E-BD53-991D51789DD9}" sibTransId="{F9DD583A-2CE0-4C52-A757-753FE5645D26}"/>
    <dgm:cxn modelId="{4791821A-7C09-4507-B57B-B04140DE59F0}" srcId="{8D5AA78A-7D4A-459F-A2B3-FC480199B0C4}" destId="{C21F88A4-D9B8-478A-A455-070240937F2A}" srcOrd="0" destOrd="0" parTransId="{9BC5260A-78F7-4ACF-B8A5-BAB4040E1FE1}" sibTransId="{7C4D3CDD-DC29-4A9C-B614-50B88CF5CFC4}"/>
    <dgm:cxn modelId="{AEC4641B-2C2F-4886-97A5-C04BACA66619}" type="presOf" srcId="{505ECFDC-C3DE-4F5F-BF86-4C8DF23C0AE9}" destId="{5913A9EE-446A-4A75-BE28-16DB8E1205FF}" srcOrd="0" destOrd="1" presId="urn:microsoft.com/office/officeart/2005/8/layout/lProcess3"/>
    <dgm:cxn modelId="{81CC0D1C-5645-4B0E-96C4-B4F53EC2695F}" srcId="{E2BFE4DF-4103-44A7-8AB7-0892C701EE46}" destId="{86B0D516-B4A8-4052-941D-8360DA01930A}" srcOrd="0" destOrd="0" parTransId="{C2C0BBF5-C699-4139-AC78-4664708FB71F}" sibTransId="{EAD45A1F-5D84-4138-9B7B-DE3EB275DC60}"/>
    <dgm:cxn modelId="{7A0FBD1F-A7B9-4B16-99F2-68A42EFCEFC1}" type="presOf" srcId="{28207CCF-995B-40F9-99AF-F0C74A76096F}" destId="{97363E8B-2CC9-40F8-81D2-82C1783BFD27}" srcOrd="0" destOrd="1" presId="urn:microsoft.com/office/officeart/2005/8/layout/lProcess3"/>
    <dgm:cxn modelId="{4B654A20-4398-4D51-9869-A492E1CE0C8E}" srcId="{FA48B597-83D3-4C01-A8E3-D795138E9701}" destId="{F3664F82-0936-47D7-B58D-C7B8B5377A6D}" srcOrd="2" destOrd="0" parTransId="{E04FFDE5-2B04-4FBF-B737-844533150FF5}" sibTransId="{D2E4712A-1486-418A-A337-6F7D377E82F2}"/>
    <dgm:cxn modelId="{35B48A20-D6E7-42A7-8683-542B9D02ED36}" type="presOf" srcId="{58B88442-9808-4776-8ACE-3D22FCA8E49E}" destId="{124996E3-18A0-40C5-A8C3-F871998D91BE}" srcOrd="0" destOrd="4" presId="urn:microsoft.com/office/officeart/2005/8/layout/lProcess3"/>
    <dgm:cxn modelId="{FEAEC920-59F0-4A73-B132-AD6EC7CE1132}" srcId="{8D5AA78A-7D4A-459F-A2B3-FC480199B0C4}" destId="{333D5B22-6E4D-4B63-A629-0D180A9EFACD}" srcOrd="2" destOrd="0" parTransId="{D381280E-ECA1-4266-AC7C-43CBDB906F08}" sibTransId="{017E5696-F1E5-44C0-8480-1583EA80C354}"/>
    <dgm:cxn modelId="{A2691522-F723-40AA-936A-6B826DE8DA30}" srcId="{A134B761-21BE-4A44-9906-F22C1614A976}" destId="{AFC1CDD3-2595-477F-82AB-07EF9E21B0CE}" srcOrd="2" destOrd="0" parTransId="{39BD12B6-CC1E-4227-85D8-BEB7F90CC3E4}" sibTransId="{E71AD84C-B98F-424E-8664-29E1D2A4DF31}"/>
    <dgm:cxn modelId="{F6843022-46D8-4BE3-AF7C-C1005E534AAB}" srcId="{20B4FD1D-7CA0-4D3B-B37B-93F2243D1945}" destId="{E663F039-0D4F-487A-BB4E-5490196C0BCB}" srcOrd="5" destOrd="0" parTransId="{688AAE7A-3351-425D-9E09-930A8ED2FCD2}" sibTransId="{3F717E84-E328-416B-AEA8-1FBFD7565F06}"/>
    <dgm:cxn modelId="{5EA5D922-75D6-4ABD-9EDD-691F95B989BA}" type="presOf" srcId="{D336CA26-00BD-4DFB-BC57-8EDDB6A3384B}" destId="{EAA8E325-C720-45F2-AE8A-9C1634D2678E}" srcOrd="0" destOrd="0" presId="urn:microsoft.com/office/officeart/2005/8/layout/lProcess3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FBE9025-731D-4682-9B7C-39AC8E976C7C}" srcId="{0CA90BAD-9BAC-4970-B428-1CC8D88FDC82}" destId="{098ED2DF-200A-4845-A09C-6097546F7099}" srcOrd="0" destOrd="0" parTransId="{8C3E4B60-EFCC-4B12-BCA0-85125BE4E8B8}" sibTransId="{430F92C4-64EB-4309-A2F2-6F123C6D4B0B}"/>
    <dgm:cxn modelId="{78A1F525-47D6-4ABF-BF12-7C692E95F09A}" type="presOf" srcId="{E2BFE4DF-4103-44A7-8AB7-0892C701EE46}" destId="{6E4A71A1-6835-4BF5-B851-CC10F4365704}" srcOrd="0" destOrd="0" presId="urn:microsoft.com/office/officeart/2005/8/layout/lProcess3"/>
    <dgm:cxn modelId="{96F79226-9845-4632-9A73-CC8C7DCD0F43}" type="presOf" srcId="{333D5B22-6E4D-4B63-A629-0D180A9EFACD}" destId="{124996E3-18A0-40C5-A8C3-F871998D91BE}" srcOrd="0" destOrd="3" presId="urn:microsoft.com/office/officeart/2005/8/layout/lProcess3"/>
    <dgm:cxn modelId="{234CBC26-7260-4F9D-97FF-1560DE78F300}" srcId="{8C4BCE95-DBE2-491A-AF55-DEF5FAB9CAB2}" destId="{F672FA88-AD1E-4E17-8B65-CF6490C3F5BB}" srcOrd="2" destOrd="0" parTransId="{4D8F113B-4C12-40A8-A241-F0FD27FF247C}" sibTransId="{B10FE3F1-5026-4611-B572-2450514468D7}"/>
    <dgm:cxn modelId="{DE094C2C-1DAA-4E9A-9588-0A38A06B8C00}" type="presOf" srcId="{2EF03786-0E40-4942-9E4D-A13C64FDBF0E}" destId="{3D2C3AB3-0DCD-4465-B025-265BBB0F4EE7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74DD972F-92A7-4899-8861-DEA7C4FC97F3}" type="presOf" srcId="{48E28473-22CF-4492-8876-9BA2D5799D4D}" destId="{874395BE-040C-4706-B13E-3A6D4A6A57CF}" srcOrd="0" destOrd="1" presId="urn:microsoft.com/office/officeart/2005/8/layout/lProcess3"/>
    <dgm:cxn modelId="{CBF5DB2F-3EB2-4162-B27E-057E1923DD19}" type="presOf" srcId="{4C5CEF2E-C3F6-4329-90E4-6B3F79B4FA16}" destId="{D8F53325-EF29-4B74-924F-477EBC447ED4}" srcOrd="0" destOrd="0" presId="urn:microsoft.com/office/officeart/2005/8/layout/lProcess3"/>
    <dgm:cxn modelId="{206A9533-2D2A-4F07-A0BF-BF7672836B4F}" srcId="{97E6D244-62E0-4C63-AB7B-BD8AB315516F}" destId="{532D1B92-8C81-4516-A141-6FD2D9A1EC33}" srcOrd="2" destOrd="0" parTransId="{3A65F39A-D405-4FEA-AB27-D6FAAE2005D6}" sibTransId="{8A31169E-A6FD-4850-9D84-67AF0EE67710}"/>
    <dgm:cxn modelId="{F4EEAA35-126C-47F5-88F6-8B810B8ADCCE}" type="presOf" srcId="{D44FD64F-16DB-46BF-83ED-B2D5775E2E31}" destId="{6E769E55-F845-496F-AAE9-AEB37C279700}" srcOrd="0" destOrd="4" presId="urn:microsoft.com/office/officeart/2005/8/layout/lProcess3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E78A6938-DBB9-4CC5-9181-FF713EE875DC}" srcId="{6F650ABB-418D-46E0-B1CF-A0D53DCB580D}" destId="{66ADC303-4A99-4994-B4C2-5130A75EC185}" srcOrd="2" destOrd="0" parTransId="{8FD81140-6D6F-401A-8706-E20833F83139}" sibTransId="{A33EDFFD-7531-4431-B872-27F99A9AD992}"/>
    <dgm:cxn modelId="{5B7A7A38-8FE5-41B7-BAA2-9AE8C6CF4809}" type="presOf" srcId="{19E46432-CC47-487D-B98F-5C86D1B0AD91}" destId="{31E649D0-43E7-4884-9A60-1A15855F39BA}" srcOrd="0" destOrd="2" presId="urn:microsoft.com/office/officeart/2005/8/layout/lProcess3"/>
    <dgm:cxn modelId="{84392E39-5500-4A54-9275-3146AE28435B}" srcId="{C0F6A5D1-3D47-4549-BF25-E59EA173605B}" destId="{19E46432-CC47-487D-B98F-5C86D1B0AD91}" srcOrd="1" destOrd="0" parTransId="{2E6E40C1-1B8B-4884-B31F-FD921C4F1E79}" sibTransId="{2B84A0B3-DDB6-44A6-949B-34EF29E66B3A}"/>
    <dgm:cxn modelId="{21280E3C-CFDB-4E5F-AF5C-981DB18F156F}" srcId="{FA48B597-83D3-4C01-A8E3-D795138E9701}" destId="{8DD704C5-97CB-49C7-8BD8-7DFD53E5A85D}" srcOrd="1" destOrd="0" parTransId="{10147ECD-7824-4C30-9D9A-80EC11DE2C1F}" sibTransId="{4C49D811-A998-42DE-9601-58840493D7F7}"/>
    <dgm:cxn modelId="{A742353E-2050-49B3-BB5A-0D951B702CF9}" srcId="{4C5CEF2E-C3F6-4329-90E4-6B3F79B4FA16}" destId="{B42F0CC1-7A73-4752-A1ED-EC19E61FC1A0}" srcOrd="1" destOrd="0" parTransId="{F1FA5DFD-022B-4299-A827-784D32E48189}" sibTransId="{1408FA9B-2FA3-4E7C-AD4A-4D4E07C110BB}"/>
    <dgm:cxn modelId="{A768443E-37BD-408F-BD0E-F67D2B2964AF}" type="presOf" srcId="{8D5AA78A-7D4A-459F-A2B3-FC480199B0C4}" destId="{124996E3-18A0-40C5-A8C3-F871998D91BE}" srcOrd="0" destOrd="0" presId="urn:microsoft.com/office/officeart/2005/8/layout/lProcess3"/>
    <dgm:cxn modelId="{A37C6840-E2E5-44D7-B6E5-7EFA8882BA43}" srcId="{A134B761-21BE-4A44-9906-F22C1614A976}" destId="{10082EF7-A2CD-4448-A665-40E6FFBC0AFE}" srcOrd="3" destOrd="0" parTransId="{4A7ED0EE-FE63-4236-AB11-2574A5E7BE85}" sibTransId="{6F2CA216-0D90-48FB-AE67-D16460495440}"/>
    <dgm:cxn modelId="{03C2A75B-C78D-4566-AE2A-1FB6679594BB}" srcId="{E7C05458-BA4F-4586-B1B0-DB4D8803E0FB}" destId="{1471844E-F1FC-488D-A985-3028FD43397F}" srcOrd="2" destOrd="0" parTransId="{7F547E4C-94F9-485C-909B-11E21E11BA50}" sibTransId="{BCA3D712-5881-41E0-9728-B3BC0E72142C}"/>
    <dgm:cxn modelId="{BA8CE25C-7377-4806-847C-1747D4D3FFC0}" type="presOf" srcId="{235D0CE4-E057-41DD-8AC1-A6B62092244D}" destId="{E69D14FB-5309-47A4-99A0-AD5CA610ACAB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CB8CDC5D-8A68-4756-9DF1-5AE03BC33EA7}" srcId="{20B4FD1D-7CA0-4D3B-B37B-93F2243D1945}" destId="{2EF03786-0E40-4942-9E4D-A13C64FDBF0E}" srcOrd="6" destOrd="0" parTransId="{E232E565-32AD-483A-869A-334B06CEA892}" sibTransId="{6A1B2DF0-59C2-47BE-AF3D-AE2E6F07755A}"/>
    <dgm:cxn modelId="{27D0C85E-7832-48CF-A0EC-A9A6F535C64F}" type="presOf" srcId="{13B68F89-F137-45DB-86DA-C63A8CA15A64}" destId="{033985E6-5141-4244-8446-F5E7A99A21F5}" srcOrd="0" destOrd="2" presId="urn:microsoft.com/office/officeart/2005/8/layout/lProcess3"/>
    <dgm:cxn modelId="{FD0C005F-4B10-4C44-B5D8-3AC72EBF1B3B}" srcId="{8C4BCE95-DBE2-491A-AF55-DEF5FAB9CAB2}" destId="{7085B993-51ED-4F14-8E6C-0F1457C813C8}" srcOrd="1" destOrd="0" parTransId="{E39AC390-C707-4AF7-94FA-9F7B6E3D829E}" sibTransId="{7467CD0F-ABCA-48B1-837C-C2D8130A4718}"/>
    <dgm:cxn modelId="{A584295F-AFB6-43B6-98B3-EA43BD51A012}" type="presOf" srcId="{5320ABCD-429D-4135-9CD7-4191E7D5ECC3}" destId="{5913A9EE-446A-4A75-BE28-16DB8E1205FF}" srcOrd="0" destOrd="2" presId="urn:microsoft.com/office/officeart/2005/8/layout/lProcess3"/>
    <dgm:cxn modelId="{687F5160-3827-44DE-AA01-EAB17E643999}" srcId="{20B4FD1D-7CA0-4D3B-B37B-93F2243D1945}" destId="{4C5CEF2E-C3F6-4329-90E4-6B3F79B4FA16}" srcOrd="4" destOrd="0" parTransId="{A9012513-CC00-4748-BAF8-379192ADD9BF}" sibTransId="{6EEEB7C0-D6D2-433C-BCAE-8BD03992BD92}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44E18D62-D8C2-478B-8861-8DAAB3304675}" srcId="{C0F6A5D1-3D47-4549-BF25-E59EA173605B}" destId="{B76A191D-E637-4B61-8FCB-8487CFCE2670}" srcOrd="0" destOrd="0" parTransId="{8D6322E5-9807-49CF-9D2F-BEEB39F3076E}" sibTransId="{24694339-51F2-40F4-847D-67C09F75FC16}"/>
    <dgm:cxn modelId="{A69FCF62-B808-4C76-9FF2-FA697981054F}" type="presOf" srcId="{8061C7C4-EE96-4728-9407-A96630B6070F}" destId="{5913A9EE-446A-4A75-BE28-16DB8E1205FF}" srcOrd="0" destOrd="3" presId="urn:microsoft.com/office/officeart/2005/8/layout/lProcess3"/>
    <dgm:cxn modelId="{F6061943-4ECA-46B9-8097-477A0D628733}" srcId="{673A41D3-F23F-4BEA-A002-66B4545C4E81}" destId="{3B523FDC-D939-49CA-A97B-7F40BE9FC06F}" srcOrd="2" destOrd="0" parTransId="{C003653F-6AC4-4819-813F-C1099F8D8AE8}" sibTransId="{3EF824F1-9906-4F03-8074-28279C88605E}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792AFA63-E05B-4E55-B21E-32641FDC800C}" srcId="{4C5CEF2E-C3F6-4329-90E4-6B3F79B4FA16}" destId="{7F4E70F1-20E0-4F73-B680-6448732516E7}" srcOrd="5" destOrd="0" parTransId="{B5AFAED5-1A09-46B5-9F94-01D069E112E5}" sibTransId="{F132B497-2A6F-40CE-9336-644256629117}"/>
    <dgm:cxn modelId="{13064244-A3B6-422C-AB15-7435D8267764}" type="presOf" srcId="{532D1B92-8C81-4516-A141-6FD2D9A1EC33}" destId="{C2C8C981-CBE7-44A9-8233-ECFC3222A3E7}" srcOrd="0" destOrd="0" presId="urn:microsoft.com/office/officeart/2005/8/layout/lProcess3"/>
    <dgm:cxn modelId="{DC03E144-0FAC-4BD2-B16D-3F88E45B905D}" srcId="{673A41D3-F23F-4BEA-A002-66B4545C4E81}" destId="{E2BFE4DF-4103-44A7-8AB7-0892C701EE46}" srcOrd="3" destOrd="0" parTransId="{BF286CDC-5668-4F2B-9FE0-885F8EAA6E98}" sibTransId="{B7272AF2-8DA7-4410-8330-6665F5EEF904}"/>
    <dgm:cxn modelId="{20A87365-B673-4AD4-B948-4572ABC3D3E4}" type="presOf" srcId="{AFC1CDD3-2595-477F-82AB-07EF9E21B0CE}" destId="{5CB538A3-C5E2-491F-B986-B059DC4B43E3}" srcOrd="0" destOrd="3" presId="urn:microsoft.com/office/officeart/2005/8/layout/lProcess3"/>
    <dgm:cxn modelId="{8A0CDC65-28AA-4483-A265-BB3294E02D5A}" srcId="{4C5CEF2E-C3F6-4329-90E4-6B3F79B4FA16}" destId="{B89E4D08-69C3-48C2-B2EF-34D97470F8CD}" srcOrd="3" destOrd="0" parTransId="{D7F8C0AC-B9E2-43DF-8BD9-81F165F81039}" sibTransId="{F7D4BD2C-119B-4249-A4A7-F8317E26BDA4}"/>
    <dgm:cxn modelId="{6D296566-2BDE-496E-8217-A7CE2A25B64B}" type="presOf" srcId="{79723538-296C-49FC-BBE2-98B6F8307AF7}" destId="{A4AB4759-E8C6-49A0-A564-966AB7A18535}" srcOrd="0" destOrd="2" presId="urn:microsoft.com/office/officeart/2005/8/layout/lProcess3"/>
    <dgm:cxn modelId="{77469C66-3F2E-4055-8137-50ECC9EEC8B4}" srcId="{16F57EB3-4270-46BB-88A7-10CC9C3D84A2}" destId="{F4858A09-2FDD-40AB-8160-4019202740F5}" srcOrd="0" destOrd="0" parTransId="{BA86D88A-1263-4E46-95FB-83E3CBECA2B3}" sibTransId="{B3797B33-F820-4B26-95AF-28A0004FAFCB}"/>
    <dgm:cxn modelId="{8CA4CB48-9BC8-4A1C-932E-292AF51C4964}" type="presOf" srcId="{EF02E60D-9730-4861-B91D-795411970304}" destId="{B799F94F-6E46-4AFE-8722-BF49A0D459B0}" srcOrd="0" destOrd="5" presId="urn:microsoft.com/office/officeart/2005/8/layout/lProcess3"/>
    <dgm:cxn modelId="{5F1EE348-C4A8-4B89-8439-8CE96D4EE585}" srcId="{D8F898B2-0F32-4494-9828-6BA12EADCED9}" destId="{DFC29465-D683-4C36-8F69-F44119F668DC}" srcOrd="3" destOrd="0" parTransId="{8E7C05B2-EF1C-4971-8F55-3BF79ABA7E81}" sibTransId="{2C9E4EA8-B922-4CD1-8C7E-738D1E9D46E9}"/>
    <dgm:cxn modelId="{4F8E9E69-C70F-4741-B0E3-71F9028FEC72}" srcId="{4C5CEF2E-C3F6-4329-90E4-6B3F79B4FA16}" destId="{8E39E8FC-3212-4E41-949D-BC86929C5221}" srcOrd="4" destOrd="0" parTransId="{058900F8-972C-4805-8AB9-6EE4AF38EB67}" sibTransId="{29F90FC1-ABF9-4560-A5BB-2AFE666F5413}"/>
    <dgm:cxn modelId="{14064F6A-2BB9-4AFE-8510-42EF5CDF89EA}" srcId="{673A41D3-F23F-4BEA-A002-66B4545C4E81}" destId="{4FD3EB63-D496-4E04-8463-EB7FACF896F2}" srcOrd="1" destOrd="0" parTransId="{6D3CEE6C-81D8-4CB5-8CE6-AABDA8BBBDF2}" sibTransId="{0B904BD0-6B86-403B-87D2-378C5E4E2FF5}"/>
    <dgm:cxn modelId="{BAFE704A-CCAE-41E0-B9F4-9057CC0EE882}" srcId="{D8F898B2-0F32-4494-9828-6BA12EADCED9}" destId="{45C31CF2-1399-41FB-A23F-5E22D0A16E7E}" srcOrd="0" destOrd="0" parTransId="{791B3165-ABE6-4D91-831A-7C0D48536531}" sibTransId="{8D732E18-7D0B-454B-9DB2-D78927E8ECE7}"/>
    <dgm:cxn modelId="{6F06D16A-2180-42D8-A045-7D2C2427BF58}" type="presOf" srcId="{70C6967F-2CA6-454C-B759-F61259AA6113}" destId="{5CB538A3-C5E2-491F-B986-B059DC4B43E3}" srcOrd="0" destOrd="2" presId="urn:microsoft.com/office/officeart/2005/8/layout/lProcess3"/>
    <dgm:cxn modelId="{7A81216B-2DE6-4DCB-A49B-8F7982801FA1}" type="presOf" srcId="{9A8E135B-E00C-4A85-90E9-C01857A451D4}" destId="{A4AB4759-E8C6-49A0-A564-966AB7A18535}" srcOrd="0" destOrd="5" presId="urn:microsoft.com/office/officeart/2005/8/layout/lProcess3"/>
    <dgm:cxn modelId="{68E8944B-8A1F-473D-93DD-49AC2468E2F9}" type="presOf" srcId="{D4D27A7A-AF50-4D78-BA22-1BE79520A3A2}" destId="{D8F53325-EF29-4B74-924F-477EBC447ED4}" srcOrd="0" destOrd="7" presId="urn:microsoft.com/office/officeart/2005/8/layout/lProcess3"/>
    <dgm:cxn modelId="{AF4EB04B-5559-420E-8612-26F8FD427A2D}" srcId="{45E7156B-EE0A-4FC0-82D2-4361B6D0C4A3}" destId="{639F3D2A-A320-4CFF-BF50-B399452D73AA}" srcOrd="3" destOrd="0" parTransId="{D5702E81-83A3-468D-BC1C-E75D59D0C65B}" sibTransId="{0C1C67C1-4623-4BB2-9EFA-2A31B11DDF94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B1DC116C-B62D-4B2D-A0C7-AF5A987A0358}" srcId="{673A41D3-F23F-4BEA-A002-66B4545C4E81}" destId="{A134B761-21BE-4A44-9906-F22C1614A976}" srcOrd="6" destOrd="0" parTransId="{395820C3-730C-42A7-A255-92831DAA1ACC}" sibTransId="{20C409ED-B6B5-49AB-83BF-D7D3D6837988}"/>
    <dgm:cxn modelId="{9148A46C-022C-4D8E-9078-6809E3D0EF1A}" srcId="{3FD8E3B0-4765-40A9-A706-1B2AEA1D1606}" destId="{79723538-296C-49FC-BBE2-98B6F8307AF7}" srcOrd="1" destOrd="0" parTransId="{DEBEE8BC-375A-4C48-A028-98225CAF9BAF}" sibTransId="{965342BB-1530-4658-9F8D-F40977665750}"/>
    <dgm:cxn modelId="{ADB61B4D-DAFE-49EA-B99E-CD1AD5D780B1}" type="presOf" srcId="{6E1ACD17-05DD-4E18-AEAA-EBEC49732FB4}" destId="{E6221567-4E16-48A1-9CDA-179AED124105}" srcOrd="0" destOrd="2" presId="urn:microsoft.com/office/officeart/2005/8/layout/lProcess3"/>
    <dgm:cxn modelId="{CA85096E-305D-4544-AAB6-8B8FC3B84EB0}" type="presOf" srcId="{0CA90BAD-9BAC-4970-B428-1CC8D88FDC82}" destId="{6E769E55-F845-496F-AAE9-AEB37C279700}" srcOrd="0" destOrd="1" presId="urn:microsoft.com/office/officeart/2005/8/layout/lProcess3"/>
    <dgm:cxn modelId="{F9CFCE6F-CB6B-4FEA-A06D-C32661DA8CCD}" srcId="{673A41D3-F23F-4BEA-A002-66B4545C4E81}" destId="{3FD8E3B0-4765-40A9-A706-1B2AEA1D1606}" srcOrd="4" destOrd="0" parTransId="{719BDBBA-5472-461A-931E-FAB1EF32483F}" sibTransId="{278EAE6B-A731-4C98-927A-7FEEF0FD5A90}"/>
    <dgm:cxn modelId="{7F842070-0968-4911-BFF6-9D12DE2A256D}" srcId="{4C5CEF2E-C3F6-4329-90E4-6B3F79B4FA16}" destId="{D4D27A7A-AF50-4D78-BA22-1BE79520A3A2}" srcOrd="6" destOrd="0" parTransId="{D41A475A-BB75-4422-A108-E36C0B6346D5}" sibTransId="{13196387-615B-4C98-B4D2-FA421E8A9F9A}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3FA30272-49D3-4755-B50E-2FD5A1C38EA1}" type="presOf" srcId="{1471844E-F1FC-488D-A985-3028FD43397F}" destId="{27099A77-E2FB-438B-83D9-F2B501EC6DE9}" srcOrd="0" destOrd="3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9A14A775-87FC-4883-B4F8-DB24851838E4}" type="presOf" srcId="{731889D3-9A8B-49DF-A4E6-FA310097DC5D}" destId="{85D7B7D3-83F5-4C9A-8D00-3A8450F954C1}" srcOrd="0" destOrd="0" presId="urn:microsoft.com/office/officeart/2005/8/layout/lProcess3"/>
    <dgm:cxn modelId="{9D23C255-68E6-46AB-BFC3-C5B24560468B}" type="presOf" srcId="{E663F039-0D4F-487A-BB4E-5490196C0BCB}" destId="{2C06F546-EA30-436F-8D4A-E4407A3829E9}" srcOrd="0" destOrd="0" presId="urn:microsoft.com/office/officeart/2005/8/layout/lProcess3"/>
    <dgm:cxn modelId="{8A77C756-880C-4BA6-850F-5E36B7BF4D61}" srcId="{45E7156B-EE0A-4FC0-82D2-4361B6D0C4A3}" destId="{D44FD64F-16DB-46BF-83ED-B2D5775E2E31}" srcOrd="2" destOrd="0" parTransId="{14A046CE-0005-477C-A614-9D761788C420}" sibTransId="{35F50636-21D6-4868-883F-94C9A4A624DC}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960DFD57-0297-44D5-8F79-0EBEC52FF9C6}" srcId="{E7C05458-BA4F-4586-B1B0-DB4D8803E0FB}" destId="{B0153736-BA48-4F22-B113-8061DD2B4FE1}" srcOrd="0" destOrd="0" parTransId="{42C67FF1-9AC6-4B7F-997F-456BA092DE76}" sibTransId="{E6BA5A1F-65A7-44AE-8909-5D842AB7DA13}"/>
    <dgm:cxn modelId="{C05D5F59-0848-42BE-B000-5D3CEBC8D6AB}" srcId="{8C4BCE95-DBE2-491A-AF55-DEF5FAB9CAB2}" destId="{1EEAF53C-A036-4373-9BDA-EB4721A0D03D}" srcOrd="0" destOrd="0" parTransId="{8F156399-D325-4DE0-999F-397390A8B5D1}" sibTransId="{CC81C0C0-064F-49F4-8775-9C7817F4253E}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FEAA295A-F1F4-40DC-A715-2E315E7FBD98}" srcId="{5320ABCD-429D-4135-9CD7-4191E7D5ECC3}" destId="{8061C7C4-EE96-4728-9407-A96630B6070F}" srcOrd="0" destOrd="0" parTransId="{7FC80B98-1753-4DAF-8315-4AEE8ED8A37A}" sibTransId="{005E3FC6-870E-49AA-9A9D-1F5FF275B37B}"/>
    <dgm:cxn modelId="{FA5A1A7B-04A4-40CA-9056-44AC14FE7CA9}" type="presOf" srcId="{5E9A7527-A1EA-464D-87C8-974AD3EEEBC8}" destId="{5913A9EE-446A-4A75-BE28-16DB8E1205FF}" srcOrd="0" destOrd="4" presId="urn:microsoft.com/office/officeart/2005/8/layout/lProcess3"/>
    <dgm:cxn modelId="{50D1B57B-9AE5-4BDE-BA87-901BCECEC405}" srcId="{97E6D244-62E0-4C63-AB7B-BD8AB315516F}" destId="{235D0CE4-E057-41DD-8AC1-A6B62092244D}" srcOrd="6" destOrd="0" parTransId="{E8AEE88D-CDF3-4475-8FE0-8371F9626A05}" sibTransId="{E0570D84-DFDB-471A-96B0-26CE1CEAB968}"/>
    <dgm:cxn modelId="{9B86437C-CEFC-4492-AADC-A357A71775B4}" type="presOf" srcId="{24C1B535-4459-47A5-A28C-A9C9409846BB}" destId="{A4AB4759-E8C6-49A0-A564-966AB7A18535}" srcOrd="0" destOrd="3" presId="urn:microsoft.com/office/officeart/2005/8/layout/lProcess3"/>
    <dgm:cxn modelId="{607A847C-CF9A-4FD1-8E54-D192218F7DA0}" type="presOf" srcId="{939DEE15-5E26-461C-B4C6-54ACA0EA0FE8}" destId="{A4AB4759-E8C6-49A0-A564-966AB7A18535}" srcOrd="0" destOrd="1" presId="urn:microsoft.com/office/officeart/2005/8/layout/lProcess3"/>
    <dgm:cxn modelId="{48EFA180-2257-407B-B041-66AB80388EC1}" srcId="{FA48B597-83D3-4C01-A8E3-D795138E9701}" destId="{EB261159-4417-4EDF-9578-418CC1861B93}" srcOrd="0" destOrd="0" parTransId="{85186BA2-08AA-42AD-85A4-607BB4E825BD}" sibTransId="{E69BFEAD-CF9B-4475-AF8F-172CAE38E14A}"/>
    <dgm:cxn modelId="{06C3E081-140E-46A0-BB77-E0FF16BD38E9}" type="presOf" srcId="{34552BE1-F0CE-4CD9-BCE7-84BEC049EEDF}" destId="{124996E3-18A0-40C5-A8C3-F871998D91BE}" srcOrd="0" destOrd="2" presId="urn:microsoft.com/office/officeart/2005/8/layout/lProcess3"/>
    <dgm:cxn modelId="{7585A482-F9E4-4DCB-A482-0C7E0A62459A}" type="presOf" srcId="{219C9023-EF54-47A7-8400-C4493040DC4B}" destId="{5913A9EE-446A-4A75-BE28-16DB8E1205FF}" srcOrd="0" destOrd="5" presId="urn:microsoft.com/office/officeart/2005/8/layout/lProcess3"/>
    <dgm:cxn modelId="{888C4987-DB7D-4343-A27F-A64792516E7D}" srcId="{4C5CEF2E-C3F6-4329-90E4-6B3F79B4FA16}" destId="{0EE81264-9DD8-4939-9568-6189003709C3}" srcOrd="0" destOrd="0" parTransId="{5C754D67-7B37-43C7-B31F-6E21117B112C}" sibTransId="{3CE3FCC7-EE0F-4F23-B340-38857434F3BD}"/>
    <dgm:cxn modelId="{442C2A88-7191-4BCC-B118-48DEDFF799C1}" type="presOf" srcId="{FC0CC90C-D47F-4B56-A343-556B8CC983E4}" destId="{6E769E55-F845-496F-AAE9-AEB37C279700}" srcOrd="0" destOrd="3" presId="urn:microsoft.com/office/officeart/2005/8/layout/lProcess3"/>
    <dgm:cxn modelId="{D67CCF88-0B7B-4A80-B5C6-620C268CCC1C}" srcId="{6F650ABB-418D-46E0-B1CF-A0D53DCB580D}" destId="{6E1ACD17-05DD-4E18-AEAA-EBEC49732FB4}" srcOrd="1" destOrd="0" parTransId="{707815F4-46A9-419D-BA8B-61C89A061C60}" sibTransId="{D88A5A0B-79C8-4944-8C9E-98179DA08156}"/>
    <dgm:cxn modelId="{3DB21289-7DC5-4658-804F-6B58704559DA}" type="presOf" srcId="{DFECD2C8-36EC-45C5-AC2A-0E12CDD5CB13}" destId="{0698A4C8-E648-44FD-B978-F618BEA7BF67}" srcOrd="0" destOrd="1" presId="urn:microsoft.com/office/officeart/2005/8/layout/lProcess3"/>
    <dgm:cxn modelId="{EF50AB89-1E83-40CD-A5A2-BDD829AD4B26}" srcId="{97E6D244-62E0-4C63-AB7B-BD8AB315516F}" destId="{D0D18A9C-1C0B-4888-8999-011AD7E7A0D3}" srcOrd="3" destOrd="0" parTransId="{6A3F06FE-508C-4D18-9C78-48DBD23D1CA9}" sibTransId="{2CCF55FA-B600-492C-A1FC-1892CD8485DD}"/>
    <dgm:cxn modelId="{D95F2D8A-855D-476E-B82C-06B65BB57748}" srcId="{D8F898B2-0F32-4494-9828-6BA12EADCED9}" destId="{FA48B597-83D3-4C01-A8E3-D795138E9701}" srcOrd="1" destOrd="0" parTransId="{EACD600F-7B5E-4F4B-8FE7-7F95695C04AC}" sibTransId="{76C20D21-071E-40EA-8907-304A6EA2D201}"/>
    <dgm:cxn modelId="{EB83668A-5A7A-4B99-AA31-819C6F8372D4}" type="presOf" srcId="{7F4E70F1-20E0-4F73-B680-6448732516E7}" destId="{D8F53325-EF29-4B74-924F-477EBC447ED4}" srcOrd="0" destOrd="6" presId="urn:microsoft.com/office/officeart/2005/8/layout/lProcess3"/>
    <dgm:cxn modelId="{A285098C-F763-4023-B956-D1C793E41809}" type="presOf" srcId="{8EA317D4-C740-45C0-A3C1-78FA5837E1B6}" destId="{5CB538A3-C5E2-491F-B986-B059DC4B43E3}" srcOrd="0" destOrd="1" presId="urn:microsoft.com/office/officeart/2005/8/layout/lProcess3"/>
    <dgm:cxn modelId="{B789678F-2C35-4542-8918-E958BA3029FB}" type="presOf" srcId="{F4858A09-2FDD-40AB-8160-4019202740F5}" destId="{033985E6-5141-4244-8446-F5E7A99A21F5}" srcOrd="0" destOrd="1" presId="urn:microsoft.com/office/officeart/2005/8/layout/lProcess3"/>
    <dgm:cxn modelId="{202AF98F-7CEE-40CF-A2BB-AEC7B31F6D57}" type="presOf" srcId="{8C4BCE95-DBE2-491A-AF55-DEF5FAB9CAB2}" destId="{2A1098A4-3513-4B7B-BD95-A66078137AE3}" srcOrd="0" destOrd="0" presId="urn:microsoft.com/office/officeart/2005/8/layout/lProcess3"/>
    <dgm:cxn modelId="{85F22F91-27DA-4281-9E91-91FE83A2044C}" type="presOf" srcId="{C21F88A4-D9B8-478A-A455-070240937F2A}" destId="{124996E3-18A0-40C5-A8C3-F871998D91BE}" srcOrd="0" destOrd="1" presId="urn:microsoft.com/office/officeart/2005/8/layout/lProcess3"/>
    <dgm:cxn modelId="{CDDE4A92-83C7-4170-9A5D-EFE71F027A8A}" srcId="{97E6D244-62E0-4C63-AB7B-BD8AB315516F}" destId="{80E4DF74-9B71-4F08-82E9-5D35D06282FD}" srcOrd="4" destOrd="0" parTransId="{481C55CD-77A6-4023-9DDE-74940078F61E}" sibTransId="{19FE0BDB-9CE2-4C8F-B43D-94CAD94765CF}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16ABE295-1A04-4DD2-808A-7938559A2999}" type="presOf" srcId="{1073EECD-5F7B-4D75-A1F9-47C88F978103}" destId="{31E649D0-43E7-4884-9A60-1A15855F39BA}" srcOrd="0" destOrd="3" presId="urn:microsoft.com/office/officeart/2005/8/layout/lProcess3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8D825D98-8FA6-4460-87C2-38EE0643FF1D}" type="presOf" srcId="{86B0D516-B4A8-4052-941D-8360DA01930A}" destId="{6E4A71A1-6835-4BF5-B851-CC10F4365704}" srcOrd="0" destOrd="1" presId="urn:microsoft.com/office/officeart/2005/8/layout/lProcess3"/>
    <dgm:cxn modelId="{B826B499-75FF-493B-9822-3653504571D7}" type="presOf" srcId="{4FD3EB63-D496-4E04-8463-EB7FACF896F2}" destId="{00B3F7D8-6565-4D22-949D-BF8502682C48}" srcOrd="0" destOrd="0" presId="urn:microsoft.com/office/officeart/2005/8/layout/lProcess3"/>
    <dgm:cxn modelId="{90296A9D-9FAF-4A22-8B09-50D4420A5140}" type="presOf" srcId="{FA48B597-83D3-4C01-A8E3-D795138E9701}" destId="{B799F94F-6E46-4AFE-8722-BF49A0D459B0}" srcOrd="0" destOrd="0" presId="urn:microsoft.com/office/officeart/2005/8/layout/lProcess3"/>
    <dgm:cxn modelId="{D41ED09E-3B9C-4BF3-84EC-EDC7DE6A4F1B}" type="presOf" srcId="{16F57EB3-4270-46BB-88A7-10CC9C3D84A2}" destId="{033985E6-5141-4244-8446-F5E7A99A21F5}" srcOrd="0" destOrd="0" presId="urn:microsoft.com/office/officeart/2005/8/layout/lProcess3"/>
    <dgm:cxn modelId="{9BEFD69F-C79B-42BE-A1CC-C655D1154555}" type="presOf" srcId="{3B523FDC-D939-49CA-A97B-7F40BE9FC06F}" destId="{A99EBA47-DCD0-4C3C-B14C-8C6E6B58820A}" srcOrd="0" destOrd="0" presId="urn:microsoft.com/office/officeart/2005/8/layout/lProcess3"/>
    <dgm:cxn modelId="{46FB17A0-0C8F-4487-9466-EF8F49B56BAA}" srcId="{45C31CF2-1399-41FB-A23F-5E22D0A16E7E}" destId="{53442A40-DC6D-4245-A773-62D61FA4FF00}" srcOrd="0" destOrd="0" parTransId="{97DFBC2D-61B8-4D10-8597-D96ECFFF14D0}" sibTransId="{48919ADF-3969-41A4-AF73-8B129056DB3C}"/>
    <dgm:cxn modelId="{EAB920A0-0E1F-453C-A814-11AEEA67E512}" type="presOf" srcId="{B0153736-BA48-4F22-B113-8061DD2B4FE1}" destId="{27099A77-E2FB-438B-83D9-F2B501EC6DE9}" srcOrd="0" destOrd="1" presId="urn:microsoft.com/office/officeart/2005/8/layout/lProcess3"/>
    <dgm:cxn modelId="{881151A0-ED04-40CD-AD7C-3411DBCA3C06}" srcId="{15706013-49E1-4A08-BD2A-D8AA8BAB61D9}" destId="{AC2F1DB2-003A-42ED-883A-517F34705262}" srcOrd="1" destOrd="0" parTransId="{F0DC8205-28C6-45DE-AAFB-7154C2AFE56B}" sibTransId="{83268803-4A50-437D-BF45-B73B740A2092}"/>
    <dgm:cxn modelId="{2754D1A1-55DA-4FC4-A4CC-0249AA9C7352}" srcId="{FA48B597-83D3-4C01-A8E3-D795138E9701}" destId="{BE197881-79D2-48A4-A7A7-50E4BBA5EC56}" srcOrd="3" destOrd="0" parTransId="{EF095EC5-3D7B-401B-9289-F7EF5276F4BE}" sibTransId="{AFECBCC4-086F-4E66-A9E5-276799467B71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F85DA7A2-D46E-4929-A9A1-63DF209D5EE7}" srcId="{45E7156B-EE0A-4FC0-82D2-4361B6D0C4A3}" destId="{FC0CC90C-D47F-4B56-A343-556B8CC983E4}" srcOrd="1" destOrd="0" parTransId="{B6A82C6B-2A51-472B-9EC4-0EC3EBB64BCE}" sibTransId="{438E05BE-D70D-4253-8B95-1E5D9F2C0978}"/>
    <dgm:cxn modelId="{8244E1A2-139E-4DA3-9D01-8335689B9D2F}" type="presOf" srcId="{66ADC303-4A99-4994-B4C2-5130A75EC185}" destId="{E6221567-4E16-48A1-9CDA-179AED124105}" srcOrd="0" destOrd="3" presId="urn:microsoft.com/office/officeart/2005/8/layout/lProcess3"/>
    <dgm:cxn modelId="{4530A9A5-4327-4574-9EAD-FB338AF9E428}" srcId="{FA48B597-83D3-4C01-A8E3-D795138E9701}" destId="{EF02E60D-9730-4861-B91D-795411970304}" srcOrd="4" destOrd="0" parTransId="{3C1D29AB-7B2F-4698-8C49-AD472A650004}" sibTransId="{12A0D01B-B581-46C4-81BD-D07A72A25ECA}"/>
    <dgm:cxn modelId="{7B46D8A6-704B-49F4-8811-646DBB4810C4}" type="presOf" srcId="{A134B761-21BE-4A44-9906-F22C1614A976}" destId="{5CB538A3-C5E2-491F-B986-B059DC4B43E3}" srcOrd="0" destOrd="0" presId="urn:microsoft.com/office/officeart/2005/8/layout/lProcess3"/>
    <dgm:cxn modelId="{023FEFA6-92A6-43B7-8D78-45E091765AAE}" srcId="{97E6D244-62E0-4C63-AB7B-BD8AB315516F}" destId="{D336CA26-00BD-4DFB-BC57-8EDDB6A3384B}" srcOrd="1" destOrd="0" parTransId="{669249B4-8AAF-4647-AB19-219288FC75EB}" sibTransId="{3F84996F-97A0-4963-A50F-7972C829DE43}"/>
    <dgm:cxn modelId="{938602A7-3E1F-41B5-9901-0867D20A8271}" srcId="{3FD8E3B0-4765-40A9-A706-1B2AEA1D1606}" destId="{939DEE15-5E26-461C-B4C6-54ACA0EA0FE8}" srcOrd="0" destOrd="0" parTransId="{BD4ACFEF-47B0-4DB1-AA0B-F24CDE0074BB}" sibTransId="{CB65C640-85F6-454F-9A31-37D1ABAE3FD6}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76A503A9-D1CD-4B4D-87C4-D7580551C362}" type="presOf" srcId="{098ED2DF-200A-4845-A09C-6097546F7099}" destId="{6E769E55-F845-496F-AAE9-AEB37C279700}" srcOrd="0" destOrd="2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75DEACAB-96A4-48EB-9FC7-991FA3CEF888}" type="presOf" srcId="{F672FA88-AD1E-4E17-8B65-CF6490C3F5BB}" destId="{2A1098A4-3513-4B7B-BD95-A66078137AE3}" srcOrd="0" destOrd="3" presId="urn:microsoft.com/office/officeart/2005/8/layout/lProcess3"/>
    <dgm:cxn modelId="{9095D7AB-FCF1-449D-9BE1-254C47372205}" type="presOf" srcId="{ACBD95ED-3D89-4612-B50F-A953242FAEE2}" destId="{E6221567-4E16-48A1-9CDA-179AED124105}" srcOrd="0" destOrd="1" presId="urn:microsoft.com/office/officeart/2005/8/layout/lProcess3"/>
    <dgm:cxn modelId="{C804F8AB-9AD1-4E74-B559-687773158703}" srcId="{16F57EB3-4270-46BB-88A7-10CC9C3D84A2}" destId="{13B68F89-F137-45DB-86DA-C63A8CA15A64}" srcOrd="1" destOrd="0" parTransId="{03104342-7A42-481F-AEF8-FBF62DB42169}" sibTransId="{4C4E09B9-59CB-40A4-8595-5BEBE5A042DC}"/>
    <dgm:cxn modelId="{B5241BAD-9A10-4A9F-85CC-8BFAEBB521BF}" srcId="{4C5CEF2E-C3F6-4329-90E4-6B3F79B4FA16}" destId="{F8593B88-2C65-43F4-8501-A02637CC4475}" srcOrd="2" destOrd="0" parTransId="{55E7A6C9-1BA8-4EC3-BA6B-83EF7985E704}" sibTransId="{0854DCB1-17CC-4FFD-9A7D-E6215B5247AB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C0BDBAB0-8A5D-4200-A876-517D7E574A0A}" type="presOf" srcId="{F4F0CAF2-35CF-4C80-BED1-A980FB230406}" destId="{874395BE-040C-4706-B13E-3A6D4A6A57CF}" srcOrd="0" destOrd="2" presId="urn:microsoft.com/office/officeart/2005/8/layout/lProcess3"/>
    <dgm:cxn modelId="{5A4D04B1-FECD-4DCB-86BF-24F801F648F5}" type="presOf" srcId="{639F3D2A-A320-4CFF-BF50-B399452D73AA}" destId="{6E769E55-F845-496F-AAE9-AEB37C279700}" srcOrd="0" destOrd="5" presId="urn:microsoft.com/office/officeart/2005/8/layout/lProcess3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8ABF80B5-E655-479C-A474-CBDF8222F4EA}" type="presOf" srcId="{46FE586A-F3D2-4623-944F-10E7F24ECE62}" destId="{88F8DB6A-BAC0-4205-AF9B-AC35A6DB9946}" srcOrd="0" destOrd="0" presId="urn:microsoft.com/office/officeart/2005/8/layout/lProcess3"/>
    <dgm:cxn modelId="{642C73B6-C83F-489A-B24C-4FB1BCE2B1E3}" srcId="{DFC29465-D683-4C36-8F69-F44119F668DC}" destId="{21F139D4-2183-4298-B18B-3E7EDBDE255D}" srcOrd="1" destOrd="0" parTransId="{39929664-3E48-4CA5-9AAC-E39839CC46DE}" sibTransId="{63FAE004-53F4-487B-A1DD-A23BAD934C42}"/>
    <dgm:cxn modelId="{06C3F8B6-6350-4E40-839B-F14A7E50374A}" srcId="{D8F898B2-0F32-4494-9828-6BA12EADCED9}" destId="{16F57EB3-4270-46BB-88A7-10CC9C3D84A2}" srcOrd="2" destOrd="0" parTransId="{5E5EEE3E-96EC-41B1-847D-72D615A9187C}" sibTransId="{897C9165-AD4A-4F4D-97D0-D8C8BC61FEB0}"/>
    <dgm:cxn modelId="{0C0DE4B7-92BF-438A-8CB5-2AA3B0A83B65}" type="presOf" srcId="{1EEAF53C-A036-4373-9BDA-EB4721A0D03D}" destId="{2A1098A4-3513-4B7B-BD95-A66078137AE3}" srcOrd="0" destOrd="1" presId="urn:microsoft.com/office/officeart/2005/8/layout/lProcess3"/>
    <dgm:cxn modelId="{BDA943B8-4DC4-464D-9F20-30CD3AED3D2B}" srcId="{8D5AA78A-7D4A-459F-A2B3-FC480199B0C4}" destId="{34552BE1-F0CE-4CD9-BCE7-84BEC049EEDF}" srcOrd="1" destOrd="0" parTransId="{0515CE9B-EA16-404E-BA11-E8A2216139E6}" sibTransId="{674EEFC6-E96C-4A63-8028-824E621B1235}"/>
    <dgm:cxn modelId="{42D900BC-292B-4C52-9956-0A23E7E5E116}" srcId="{A134B761-21BE-4A44-9906-F22C1614A976}" destId="{70C6967F-2CA6-454C-B759-F61259AA6113}" srcOrd="1" destOrd="0" parTransId="{EAC7E278-784E-4177-B578-5BD2FC1762E4}" sibTransId="{1A4E4FB3-3ED3-4AF2-A224-09059E1BE45E}"/>
    <dgm:cxn modelId="{EE7A76BF-9003-4379-838A-D34D0CA0B5D4}" type="presOf" srcId="{8E39E8FC-3212-4E41-949D-BC86929C5221}" destId="{D8F53325-EF29-4B74-924F-477EBC447ED4}" srcOrd="0" destOrd="5" presId="urn:microsoft.com/office/officeart/2005/8/layout/lProcess3"/>
    <dgm:cxn modelId="{9A538BC4-19DB-4F26-9C83-9A156D009D69}" srcId="{DFC29465-D683-4C36-8F69-F44119F668DC}" destId="{28207CCF-995B-40F9-99AF-F0C74A76096F}" srcOrd="0" destOrd="0" parTransId="{E313DF2E-AE2F-458D-B0CD-6E4B75CAE50E}" sibTransId="{C1CFB77C-F10A-47D5-A0E9-00909CB76B07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D2C7CAC8-F891-4896-9FC9-564DD9F7F003}" srcId="{20B4FD1D-7CA0-4D3B-B37B-93F2243D1945}" destId="{8C4BCE95-DBE2-491A-AF55-DEF5FAB9CAB2}" srcOrd="2" destOrd="0" parTransId="{57B9127D-DAD4-4ABD-AF91-5F36D294ABED}" sibTransId="{65C21097-63D2-4163-8703-B701C48FB4E4}"/>
    <dgm:cxn modelId="{47CAA7CB-04FB-4A2B-B629-CB61D7DA06A3}" srcId="{80E4DF74-9B71-4F08-82E9-5D35D06282FD}" destId="{48E28473-22CF-4492-8876-9BA2D5799D4D}" srcOrd="0" destOrd="0" parTransId="{EDCD3589-74AF-45C7-B238-6E95BBD8714A}" sibTransId="{62FB02B4-20C3-44D3-91AE-F0BB298D43CE}"/>
    <dgm:cxn modelId="{0C58E3CB-3411-4096-9383-B268457BE3D7}" srcId="{45E7156B-EE0A-4FC0-82D2-4361B6D0C4A3}" destId="{0CA90BAD-9BAC-4970-B428-1CC8D88FDC82}" srcOrd="0" destOrd="0" parTransId="{9BEE6A5F-0FBC-4AFE-AF7D-989FD2095741}" sibTransId="{8BE4D297-DBDE-4E2C-8CAB-091FA13F5C88}"/>
    <dgm:cxn modelId="{13137BCD-D42F-4FE0-9D41-D1A11AD3D02A}" srcId="{15706013-49E1-4A08-BD2A-D8AA8BAB61D9}" destId="{DFECD2C8-36EC-45C5-AC2A-0E12CDD5CB13}" srcOrd="0" destOrd="0" parTransId="{1BAAC05B-E6BF-46C9-BC6D-0DA03771AF4E}" sibTransId="{80852C19-64F7-4C4D-A8B7-688C95F6D5A3}"/>
    <dgm:cxn modelId="{EF7035CF-3B3C-44AC-A2F6-CB512397F779}" srcId="{80E4DF74-9B71-4F08-82E9-5D35D06282FD}" destId="{F4F0CAF2-35CF-4C80-BED1-A980FB230406}" srcOrd="1" destOrd="0" parTransId="{C9353AE0-704C-4362-B16A-4932BC8B463C}" sibTransId="{803A075E-C043-4101-9EC4-3AC91C75942D}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3123C8D2-FBF1-4F31-98E5-A1BB1090E2CB}" type="presOf" srcId="{6F650ABB-418D-46E0-B1CF-A0D53DCB580D}" destId="{E6221567-4E16-48A1-9CDA-179AED124105}" srcOrd="0" destOrd="0" presId="urn:microsoft.com/office/officeart/2005/8/layout/lProcess3"/>
    <dgm:cxn modelId="{B63A11D3-500F-47BC-9C13-A72B8A64C625}" srcId="{673A41D3-F23F-4BEA-A002-66B4545C4E81}" destId="{C0F6A5D1-3D47-4549-BF25-E59EA173605B}" srcOrd="5" destOrd="0" parTransId="{9FA03F78-7AA6-40F4-857E-277B41E54E29}" sibTransId="{38451C1B-9E55-433F-8C28-FD17603A32B8}"/>
    <dgm:cxn modelId="{FE1C97D3-2635-49AF-BAEE-105C79B731E3}" type="presOf" srcId="{C0F6A5D1-3D47-4549-BF25-E59EA173605B}" destId="{31E649D0-43E7-4884-9A60-1A15855F39BA}" srcOrd="0" destOrd="0" presId="urn:microsoft.com/office/officeart/2005/8/layout/lProcess3"/>
    <dgm:cxn modelId="{511BD4D3-6BCB-4E1F-BE05-557F8F475A6C}" srcId="{673A41D3-F23F-4BEA-A002-66B4545C4E81}" destId="{15706013-49E1-4A08-BD2A-D8AA8BAB61D9}" srcOrd="8" destOrd="0" parTransId="{6A0F0AA9-E98E-4312-95DB-B95D7B816667}" sibTransId="{B2D212CD-673A-4506-A3D0-2901BC38D1C5}"/>
    <dgm:cxn modelId="{53E17DD5-038D-4E13-8254-9F777EE61678}" srcId="{C0F6A5D1-3D47-4549-BF25-E59EA173605B}" destId="{1073EECD-5F7B-4D75-A1F9-47C88F978103}" srcOrd="2" destOrd="0" parTransId="{470ED246-3381-4555-9395-DBA1F7D800A9}" sibTransId="{52303D3C-9187-494C-9C77-EF5C90BD137E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1A60D0D7-31CE-412A-B64D-A33917291B46}" type="presOf" srcId="{B42F0CC1-7A73-4752-A1ED-EC19E61FC1A0}" destId="{D8F53325-EF29-4B74-924F-477EBC447ED4}" srcOrd="0" destOrd="2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5568A4D9-11CB-4D04-A407-AAB765F3E640}" type="presOf" srcId="{45C31CF2-1399-41FB-A23F-5E22D0A16E7E}" destId="{AB408634-0CD4-418B-9B48-9AAC90E1180B}" srcOrd="0" destOrd="0" presId="urn:microsoft.com/office/officeart/2005/8/layout/lProcess3"/>
    <dgm:cxn modelId="{5E9431DB-6EDC-4762-BB72-63577BED63F4}" type="presOf" srcId="{10082EF7-A2CD-4448-A665-40E6FFBC0AFE}" destId="{5CB538A3-C5E2-491F-B986-B059DC4B43E3}" srcOrd="0" destOrd="4" presId="urn:microsoft.com/office/officeart/2005/8/layout/lProcess3"/>
    <dgm:cxn modelId="{F7ECE5DB-203C-4868-B9D4-80873248C997}" srcId="{20B4FD1D-7CA0-4D3B-B37B-93F2243D1945}" destId="{45E7156B-EE0A-4FC0-82D2-4361B6D0C4A3}" srcOrd="3" destOrd="0" parTransId="{DA0AB7BC-1C00-4BC1-BD64-06EAB9700DE3}" sibTransId="{E6521B79-093A-4B03-920E-43CAD89D44AB}"/>
    <dgm:cxn modelId="{BC8BEFDD-D099-4796-9A0D-DCCFA89700F9}" type="presOf" srcId="{DFC29465-D683-4C36-8F69-F44119F668DC}" destId="{97363E8B-2CC9-40F8-81D2-82C1783BFD27}" srcOrd="0" destOrd="0" presId="urn:microsoft.com/office/officeart/2005/8/layout/lProcess3"/>
    <dgm:cxn modelId="{4B98F4DD-6230-4985-BCFC-AEE45FDA4233}" type="presOf" srcId="{29DD8712-64B2-43FA-90B5-0C61803AC3BE}" destId="{27099A77-E2FB-438B-83D9-F2B501EC6DE9}" srcOrd="0" destOrd="2" presId="urn:microsoft.com/office/officeart/2005/8/layout/lProcess3"/>
    <dgm:cxn modelId="{CE39F9E0-6351-4F87-A5EE-0608489FC4F9}" srcId="{E7C05458-BA4F-4586-B1B0-DB4D8803E0FB}" destId="{29DD8712-64B2-43FA-90B5-0C61803AC3BE}" srcOrd="1" destOrd="0" parTransId="{4911A6D9-A629-46A5-BB55-A5A8D043117C}" sibTransId="{2204A20C-9851-4E68-89FE-10DD2772A5EB}"/>
    <dgm:cxn modelId="{9771FAE3-15ED-43E7-AF74-7D3404841AC2}" type="presOf" srcId="{3262161C-EDBD-4FC2-BD99-97291CA77D70}" destId="{A4AB4759-E8C6-49A0-A564-966AB7A18535}" srcOrd="0" destOrd="4" presId="urn:microsoft.com/office/officeart/2005/8/layout/lProcess3"/>
    <dgm:cxn modelId="{CA4D68E4-AE63-4137-A20D-7A953FA58546}" type="presOf" srcId="{BE197881-79D2-48A4-A7A7-50E4BBA5EC56}" destId="{B799F94F-6E46-4AFE-8722-BF49A0D459B0}" srcOrd="0" destOrd="4" presId="urn:microsoft.com/office/officeart/2005/8/layout/lProcess3"/>
    <dgm:cxn modelId="{D955B7E4-D0D5-4127-90BB-EE584260E224}" srcId="{3FD8E3B0-4765-40A9-A706-1B2AEA1D1606}" destId="{24C1B535-4459-47A5-A28C-A9C9409846BB}" srcOrd="2" destOrd="0" parTransId="{77779F0E-CD63-4E92-BBA4-72476EFB059B}" sibTransId="{D93C64B9-4103-4460-A77D-7FE3B40E6F7B}"/>
    <dgm:cxn modelId="{F25BC3E4-15EE-44A3-8348-5A360C260403}" srcId="{2BCEC983-9CA3-402E-A9EE-A2ACFBC6F26A}" destId="{505ECFDC-C3DE-4F5F-BF86-4C8DF23C0AE9}" srcOrd="0" destOrd="0" parTransId="{0BD40EAC-4D9E-4142-9395-C64C54F98974}" sibTransId="{C682D7CC-6878-49BB-ABC5-0235CB14F263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160678E6-E554-4E51-B7CA-BDDF13C6BCE8}" type="presOf" srcId="{F3664F82-0936-47D7-B58D-C7B8B5377A6D}" destId="{B799F94F-6E46-4AFE-8722-BF49A0D459B0}" srcOrd="0" destOrd="3" presId="urn:microsoft.com/office/officeart/2005/8/layout/lProcess3"/>
    <dgm:cxn modelId="{7C06BFE6-68C3-4923-B0B3-FC94BC1E06BF}" type="presOf" srcId="{B76A191D-E637-4B61-8FCB-8487CFCE2670}" destId="{31E649D0-43E7-4884-9A60-1A15855F39BA}" srcOrd="0" destOrd="1" presId="urn:microsoft.com/office/officeart/2005/8/layout/lProcess3"/>
    <dgm:cxn modelId="{E823F6E6-BD06-43F4-A684-1F6CA4550297}" type="presOf" srcId="{15706013-49E1-4A08-BD2A-D8AA8BAB61D9}" destId="{0698A4C8-E648-44FD-B978-F618BEA7BF67}" srcOrd="0" destOrd="0" presId="urn:microsoft.com/office/officeart/2005/8/layout/lProcess3"/>
    <dgm:cxn modelId="{ADC6C8E9-F7B6-4E85-A1A5-4BBCA883B934}" type="presOf" srcId="{53442A40-DC6D-4245-A773-62D61FA4FF00}" destId="{AB408634-0CD4-418B-9B48-9AAC90E1180B}" srcOrd="0" destOrd="1" presId="urn:microsoft.com/office/officeart/2005/8/layout/lProcess3"/>
    <dgm:cxn modelId="{2F1635EE-2AE9-4028-A73B-53C72DA76B7C}" type="presOf" srcId="{F8593B88-2C65-43F4-8501-A02637CC4475}" destId="{D8F53325-EF29-4B74-924F-477EBC447ED4}" srcOrd="0" destOrd="3" presId="urn:microsoft.com/office/officeart/2005/8/layout/lProcess3"/>
    <dgm:cxn modelId="{3D0943EF-4E33-4583-B960-758B2E264FE6}" srcId="{673A41D3-F23F-4BEA-A002-66B4545C4E81}" destId="{6F650ABB-418D-46E0-B1CF-A0D53DCB580D}" srcOrd="7" destOrd="0" parTransId="{F9B8596D-83E7-4B6F-B604-38C1749E9BC9}" sibTransId="{DC0E2028-7453-405A-8BE2-F8A03F755F6F}"/>
    <dgm:cxn modelId="{458440F0-D871-4279-8CB8-CA4A41C419EC}" type="presOf" srcId="{EB261159-4417-4EDF-9578-418CC1861B93}" destId="{B799F94F-6E46-4AFE-8722-BF49A0D459B0}" srcOrd="0" destOrd="1" presId="urn:microsoft.com/office/officeart/2005/8/layout/lProcess3"/>
    <dgm:cxn modelId="{5C0D9CF2-FBA9-4898-AC6B-7CD47A5F751A}" srcId="{5320ABCD-429D-4135-9CD7-4191E7D5ECC3}" destId="{5E9A7527-A1EA-464D-87C8-974AD3EEEBC8}" srcOrd="1" destOrd="0" parTransId="{F4302BB6-1274-4203-BF61-5CE412223E6B}" sibTransId="{6508165D-081D-4600-BC68-E576FA002783}"/>
    <dgm:cxn modelId="{D0D19EF2-4A28-4274-A9C4-B69EFFED880F}" type="presOf" srcId="{45E7156B-EE0A-4FC0-82D2-4361B6D0C4A3}" destId="{6E769E55-F845-496F-AAE9-AEB37C279700}" srcOrd="0" destOrd="0" presId="urn:microsoft.com/office/officeart/2005/8/layout/lProcess3"/>
    <dgm:cxn modelId="{FCD81BF6-10ED-45B1-8EC8-1BA7FA4AA282}" type="presOf" srcId="{3FD8E3B0-4765-40A9-A706-1B2AEA1D1606}" destId="{A4AB4759-E8C6-49A0-A564-966AB7A18535}" srcOrd="0" destOrd="0" presId="urn:microsoft.com/office/officeart/2005/8/layout/lProcess3"/>
    <dgm:cxn modelId="{E91873FC-B003-43CB-BED5-79EB44A9CDB2}" srcId="{97E6D244-62E0-4C63-AB7B-BD8AB315516F}" destId="{731889D3-9A8B-49DF-A4E6-FA310097DC5D}" srcOrd="5" destOrd="0" parTransId="{57F3E2BF-AAD0-46D6-A3F0-090027C36F8E}" sibTransId="{58604983-5900-4157-9729-E476175867A6}"/>
    <dgm:cxn modelId="{4498B2FD-E5DF-4BE1-95B6-B348D235B9DE}" srcId="{832C0669-C0CC-4E29-A60C-FD1C8F0D4B57}" destId="{46FE586A-F3D2-4623-944F-10E7F24ECE62}" srcOrd="2" destOrd="0" parTransId="{109D5438-A2DE-4E26-8761-20EC03B9BD7F}" sibTransId="{5AD78F0F-B053-47F4-AB29-A1BED81984FB}"/>
    <dgm:cxn modelId="{51AFC2FD-73A2-49D5-9B79-F75E264DB0C0}" type="presOf" srcId="{4246D174-BED3-48D1-8689-7D4D319BDC60}" destId="{033985E6-5141-4244-8446-F5E7A99A21F5}" srcOrd="0" destOrd="3" presId="urn:microsoft.com/office/officeart/2005/8/layout/lProcess3"/>
    <dgm:cxn modelId="{0FD195FE-C592-436E-BF90-29E11DE429B4}" srcId="{8D5AA78A-7D4A-459F-A2B3-FC480199B0C4}" destId="{58B88442-9808-4776-8ACE-3D22FCA8E49E}" srcOrd="3" destOrd="0" parTransId="{F45ABCCE-7EB3-4DCF-BEA3-1EF13B3DCB62}" sibTransId="{B27BC25E-346E-43CE-9C8D-E8CDAAF5EBB5}"/>
    <dgm:cxn modelId="{3B1A6DFF-2560-433F-8117-975A0A9D19C3}" srcId="{3FD8E3B0-4765-40A9-A706-1B2AEA1D1606}" destId="{3262161C-EDBD-4FC2-BD99-97291CA77D70}" srcOrd="3" destOrd="0" parTransId="{7ED050D5-3B50-425C-ABF3-A1DE130FC850}" sibTransId="{F9E0A2FF-6E03-461F-A5DF-18D674AE1317}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2DDAA4D9-28FC-489B-9B6A-0F1DCFCBAB0A}" type="presParOf" srcId="{C03A30C1-ACA1-4F79-A4B6-CE5AA4B69A32}" destId="{85360F49-471D-4741-B2F6-D9EDD2002CA4}" srcOrd="1" destOrd="0" presId="urn:microsoft.com/office/officeart/2005/8/layout/lProcess3"/>
    <dgm:cxn modelId="{137F830B-B9AE-4027-BD92-613EA52F2B37}" type="presParOf" srcId="{C03A30C1-ACA1-4F79-A4B6-CE5AA4B69A32}" destId="{AB408634-0CD4-418B-9B48-9AAC90E1180B}" srcOrd="2" destOrd="0" presId="urn:microsoft.com/office/officeart/2005/8/layout/lProcess3"/>
    <dgm:cxn modelId="{F44DD749-6697-4660-BCA7-5398C0DF4453}" type="presParOf" srcId="{C03A30C1-ACA1-4F79-A4B6-CE5AA4B69A32}" destId="{7FE3EBDE-25D4-4CC8-A11E-57D85BEF7B7E}" srcOrd="3" destOrd="0" presId="urn:microsoft.com/office/officeart/2005/8/layout/lProcess3"/>
    <dgm:cxn modelId="{91E04DC7-F9A4-42E0-AC55-1C9C7A6B4AB8}" type="presParOf" srcId="{C03A30C1-ACA1-4F79-A4B6-CE5AA4B69A32}" destId="{B799F94F-6E46-4AFE-8722-BF49A0D459B0}" srcOrd="4" destOrd="0" presId="urn:microsoft.com/office/officeart/2005/8/layout/lProcess3"/>
    <dgm:cxn modelId="{BDD72FA7-D919-450C-AD71-4B2D5C42D42A}" type="presParOf" srcId="{C03A30C1-ACA1-4F79-A4B6-CE5AA4B69A32}" destId="{77347160-F8A1-4072-A581-D36C3D764227}" srcOrd="5" destOrd="0" presId="urn:microsoft.com/office/officeart/2005/8/layout/lProcess3"/>
    <dgm:cxn modelId="{5793FB99-9ED3-4ED8-9565-7E47D753193D}" type="presParOf" srcId="{C03A30C1-ACA1-4F79-A4B6-CE5AA4B69A32}" destId="{033985E6-5141-4244-8446-F5E7A99A21F5}" srcOrd="6" destOrd="0" presId="urn:microsoft.com/office/officeart/2005/8/layout/lProcess3"/>
    <dgm:cxn modelId="{0E8C79F8-3B9D-4F21-A86C-DC6DF30008D1}" type="presParOf" srcId="{C03A30C1-ACA1-4F79-A4B6-CE5AA4B69A32}" destId="{8D8D0EAC-2A93-4E79-AC42-7AF83AB30DD0}" srcOrd="7" destOrd="0" presId="urn:microsoft.com/office/officeart/2005/8/layout/lProcess3"/>
    <dgm:cxn modelId="{CC84FBFC-6C3B-4F3B-9885-40950EDB64F4}" type="presParOf" srcId="{C03A30C1-ACA1-4F79-A4B6-CE5AA4B69A32}" destId="{97363E8B-2CC9-40F8-81D2-82C1783BFD27}" srcOrd="8" destOrd="0" presId="urn:microsoft.com/office/officeart/2005/8/layout/lProcess3"/>
    <dgm:cxn modelId="{64047464-387D-4ADB-9506-22B73867F35D}" type="presParOf" srcId="{C03A30C1-ACA1-4F79-A4B6-CE5AA4B69A32}" destId="{AFFCAE47-A95B-4517-83FC-147BF3409FE7}" srcOrd="9" destOrd="0" presId="urn:microsoft.com/office/officeart/2005/8/layout/lProcess3"/>
    <dgm:cxn modelId="{31B76995-1073-4C1C-BA56-CD0F18355EBD}" type="presParOf" srcId="{C03A30C1-ACA1-4F79-A4B6-CE5AA4B69A32}" destId="{124996E3-18A0-40C5-A8C3-F871998D91BE}" srcOrd="1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844A0EF1-25E6-4E55-982D-EE38294684E9}" type="presParOf" srcId="{E9F97D91-2B87-4529-B224-C4B8AEDC4D07}" destId="{B79F2844-8238-437F-99D2-564FD93585FD}" srcOrd="5" destOrd="0" presId="urn:microsoft.com/office/officeart/2005/8/layout/lProcess3"/>
    <dgm:cxn modelId="{560708E7-B9C1-4CC3-8503-B9E5DFF0DCBD}" type="presParOf" srcId="{E9F97D91-2B87-4529-B224-C4B8AEDC4D07}" destId="{2A1098A4-3513-4B7B-BD95-A66078137AE3}" srcOrd="6" destOrd="0" presId="urn:microsoft.com/office/officeart/2005/8/layout/lProcess3"/>
    <dgm:cxn modelId="{04678F70-BBB9-4DE8-98FB-75277C288372}" type="presParOf" srcId="{E9F97D91-2B87-4529-B224-C4B8AEDC4D07}" destId="{72208E97-278E-4C5F-93E0-5F3EE72C1D56}" srcOrd="7" destOrd="0" presId="urn:microsoft.com/office/officeart/2005/8/layout/lProcess3"/>
    <dgm:cxn modelId="{5C744DB2-D3A2-404B-92A4-64CFCF46E059}" type="presParOf" srcId="{E9F97D91-2B87-4529-B224-C4B8AEDC4D07}" destId="{6E769E55-F845-496F-AAE9-AEB37C279700}" srcOrd="8" destOrd="0" presId="urn:microsoft.com/office/officeart/2005/8/layout/lProcess3"/>
    <dgm:cxn modelId="{5938C56E-E016-47D2-8D65-E0F04104702F}" type="presParOf" srcId="{E9F97D91-2B87-4529-B224-C4B8AEDC4D07}" destId="{C17C3999-1657-40CE-846C-998B2346B3E5}" srcOrd="9" destOrd="0" presId="urn:microsoft.com/office/officeart/2005/8/layout/lProcess3"/>
    <dgm:cxn modelId="{B7DCA988-4720-447A-A7C6-D20E8E293971}" type="presParOf" srcId="{E9F97D91-2B87-4529-B224-C4B8AEDC4D07}" destId="{D8F53325-EF29-4B74-924F-477EBC447ED4}" srcOrd="10" destOrd="0" presId="urn:microsoft.com/office/officeart/2005/8/layout/lProcess3"/>
    <dgm:cxn modelId="{D6508FAF-1622-4A6D-A1C5-24BB0F968C39}" type="presParOf" srcId="{E9F97D91-2B87-4529-B224-C4B8AEDC4D07}" destId="{5FFE736A-077A-4C59-AF06-2826D534B334}" srcOrd="11" destOrd="0" presId="urn:microsoft.com/office/officeart/2005/8/layout/lProcess3"/>
    <dgm:cxn modelId="{C80D5819-F381-4018-B642-7EECF72B7477}" type="presParOf" srcId="{E9F97D91-2B87-4529-B224-C4B8AEDC4D07}" destId="{2C06F546-EA30-436F-8D4A-E4407A3829E9}" srcOrd="12" destOrd="0" presId="urn:microsoft.com/office/officeart/2005/8/layout/lProcess3"/>
    <dgm:cxn modelId="{6BFD33B4-737B-436C-9F6B-D626CC60149B}" type="presParOf" srcId="{E9F97D91-2B87-4529-B224-C4B8AEDC4D07}" destId="{BB197CDA-944E-4A23-AC82-56DB906F30A7}" srcOrd="13" destOrd="0" presId="urn:microsoft.com/office/officeart/2005/8/layout/lProcess3"/>
    <dgm:cxn modelId="{65F07FD0-85C1-4580-BC34-633F734D028C}" type="presParOf" srcId="{E9F97D91-2B87-4529-B224-C4B8AEDC4D07}" destId="{3D2C3AB3-0DCD-4465-B025-265BBB0F4EE7}" srcOrd="14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A4210AF-9019-465A-A803-EEA52A7BB3A4}" type="presParOf" srcId="{82EB43CF-8EE2-4451-803B-CC4B10BF2B43}" destId="{59453FB8-A3D3-4D6C-B3A7-5B364C6976B9}" srcOrd="5" destOrd="0" presId="urn:microsoft.com/office/officeart/2005/8/layout/lProcess3"/>
    <dgm:cxn modelId="{6CE8AC4C-C7E2-45AB-8615-010F7E0053A6}" type="presParOf" srcId="{82EB43CF-8EE2-4451-803B-CC4B10BF2B43}" destId="{88F8DB6A-BAC0-4205-AF9B-AC35A6DB9946}" srcOrd="6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368EA47-83B1-4EA1-B919-84D6E6F876DB}" type="presParOf" srcId="{2018E185-BA9E-4DA7-BDED-717D54DB8284}" destId="{3C053D23-560D-4096-961F-C0A72BDE14E7}" srcOrd="3" destOrd="0" presId="urn:microsoft.com/office/officeart/2005/8/layout/lProcess3"/>
    <dgm:cxn modelId="{88751826-A9C4-4532-9D9A-7CB5D988E6C6}" type="presParOf" srcId="{2018E185-BA9E-4DA7-BDED-717D54DB8284}" destId="{00B3F7D8-6565-4D22-949D-BF8502682C48}" srcOrd="4" destOrd="0" presId="urn:microsoft.com/office/officeart/2005/8/layout/lProcess3"/>
    <dgm:cxn modelId="{D498C18A-1C86-4B41-ADA0-324196EDB04F}" type="presParOf" srcId="{2018E185-BA9E-4DA7-BDED-717D54DB8284}" destId="{923868AD-8434-4209-BB37-7DE03855E415}" srcOrd="5" destOrd="0" presId="urn:microsoft.com/office/officeart/2005/8/layout/lProcess3"/>
    <dgm:cxn modelId="{5D59E5C4-C146-4641-A9EF-2501FC0579B3}" type="presParOf" srcId="{2018E185-BA9E-4DA7-BDED-717D54DB8284}" destId="{A99EBA47-DCD0-4C3C-B14C-8C6E6B58820A}" srcOrd="6" destOrd="0" presId="urn:microsoft.com/office/officeart/2005/8/layout/lProcess3"/>
    <dgm:cxn modelId="{F3E1A98C-73C1-4A42-B5B6-12DAEFE59E79}" type="presParOf" srcId="{2018E185-BA9E-4DA7-BDED-717D54DB8284}" destId="{D75F991F-A68D-4650-9661-9078CD70D619}" srcOrd="7" destOrd="0" presId="urn:microsoft.com/office/officeart/2005/8/layout/lProcess3"/>
    <dgm:cxn modelId="{35DD5148-E7CE-4268-A5D2-C6079C6DDF5A}" type="presParOf" srcId="{2018E185-BA9E-4DA7-BDED-717D54DB8284}" destId="{6E4A71A1-6835-4BF5-B851-CC10F4365704}" srcOrd="8" destOrd="0" presId="urn:microsoft.com/office/officeart/2005/8/layout/lProcess3"/>
    <dgm:cxn modelId="{AD9A9D7F-06BF-4D09-A7D4-0B406C5393D4}" type="presParOf" srcId="{2018E185-BA9E-4DA7-BDED-717D54DB8284}" destId="{C45BD703-394C-41DC-A262-0E41328AD549}" srcOrd="9" destOrd="0" presId="urn:microsoft.com/office/officeart/2005/8/layout/lProcess3"/>
    <dgm:cxn modelId="{C2363108-5CD7-4911-B942-44FAC447C8D3}" type="presParOf" srcId="{2018E185-BA9E-4DA7-BDED-717D54DB8284}" destId="{A4AB4759-E8C6-49A0-A564-966AB7A18535}" srcOrd="10" destOrd="0" presId="urn:microsoft.com/office/officeart/2005/8/layout/lProcess3"/>
    <dgm:cxn modelId="{82049063-C4F8-45D7-A66C-5E5FBE5B74DC}" type="presParOf" srcId="{2018E185-BA9E-4DA7-BDED-717D54DB8284}" destId="{CC69AD36-395B-4910-A22B-7A1C30DD733B}" srcOrd="11" destOrd="0" presId="urn:microsoft.com/office/officeart/2005/8/layout/lProcess3"/>
    <dgm:cxn modelId="{C11C0B1D-E03E-4C86-8738-BE1936ECFC6E}" type="presParOf" srcId="{2018E185-BA9E-4DA7-BDED-717D54DB8284}" destId="{31E649D0-43E7-4884-9A60-1A15855F39BA}" srcOrd="12" destOrd="0" presId="urn:microsoft.com/office/officeart/2005/8/layout/lProcess3"/>
    <dgm:cxn modelId="{E0CBAA14-C8CE-488A-B9E1-2D0C81584C05}" type="presParOf" srcId="{2018E185-BA9E-4DA7-BDED-717D54DB8284}" destId="{A8BCA8DB-2BD6-4B00-B4BF-194A8609C8CD}" srcOrd="13" destOrd="0" presId="urn:microsoft.com/office/officeart/2005/8/layout/lProcess3"/>
    <dgm:cxn modelId="{931A3286-DE39-4155-AE53-E5753097474C}" type="presParOf" srcId="{2018E185-BA9E-4DA7-BDED-717D54DB8284}" destId="{5CB538A3-C5E2-491F-B986-B059DC4B43E3}" srcOrd="14" destOrd="0" presId="urn:microsoft.com/office/officeart/2005/8/layout/lProcess3"/>
    <dgm:cxn modelId="{E43D9576-3BA3-491A-B733-22EB5F7071E2}" type="presParOf" srcId="{2018E185-BA9E-4DA7-BDED-717D54DB8284}" destId="{1F14A886-3793-43C8-8C4A-E87EC61F8109}" srcOrd="15" destOrd="0" presId="urn:microsoft.com/office/officeart/2005/8/layout/lProcess3"/>
    <dgm:cxn modelId="{EAC69367-D984-46C2-BD02-BA7621CCFD03}" type="presParOf" srcId="{2018E185-BA9E-4DA7-BDED-717D54DB8284}" destId="{E6221567-4E16-48A1-9CDA-179AED124105}" srcOrd="16" destOrd="0" presId="urn:microsoft.com/office/officeart/2005/8/layout/lProcess3"/>
    <dgm:cxn modelId="{9EB171A0-062A-4153-822C-E8DA5A844373}" type="presParOf" srcId="{2018E185-BA9E-4DA7-BDED-717D54DB8284}" destId="{D6766100-C3AC-431E-BFF6-ADA1F34EBFA4}" srcOrd="17" destOrd="0" presId="urn:microsoft.com/office/officeart/2005/8/layout/lProcess3"/>
    <dgm:cxn modelId="{ECF9DCE8-0876-43EA-8F08-038A460BA41B}" type="presParOf" srcId="{2018E185-BA9E-4DA7-BDED-717D54DB8284}" destId="{0698A4C8-E648-44FD-B978-F618BEA7BF67}" srcOrd="18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EECB4EB7-FFD5-4FE3-A729-9371A369A5B8}" type="presParOf" srcId="{2A5E2B7D-75C0-4FE9-B326-076FD5F87C48}" destId="{8E3C2EC8-0769-4D07-B904-4443756E2539}" srcOrd="3" destOrd="0" presId="urn:microsoft.com/office/officeart/2005/8/layout/lProcess3"/>
    <dgm:cxn modelId="{F22D30D8-2991-4040-B790-A8016D3CB97C}" type="presParOf" srcId="{2A5E2B7D-75C0-4FE9-B326-076FD5F87C48}" destId="{EAA8E325-C720-45F2-AE8A-9C1634D2678E}" srcOrd="4" destOrd="0" presId="urn:microsoft.com/office/officeart/2005/8/layout/lProcess3"/>
    <dgm:cxn modelId="{A745455A-70B3-40D2-BA8C-C26B49F8BF69}" type="presParOf" srcId="{2A5E2B7D-75C0-4FE9-B326-076FD5F87C48}" destId="{2073E1C3-4D3F-40B5-9212-0CEC5AF51C42}" srcOrd="5" destOrd="0" presId="urn:microsoft.com/office/officeart/2005/8/layout/lProcess3"/>
    <dgm:cxn modelId="{83A02F34-5F38-43A5-B259-3E630C6DD888}" type="presParOf" srcId="{2A5E2B7D-75C0-4FE9-B326-076FD5F87C48}" destId="{C2C8C981-CBE7-44A9-8233-ECFC3222A3E7}" srcOrd="6" destOrd="0" presId="urn:microsoft.com/office/officeart/2005/8/layout/lProcess3"/>
    <dgm:cxn modelId="{D4A4CD7E-1A5F-49D8-AED4-50D3A4E26EA1}" type="presParOf" srcId="{2A5E2B7D-75C0-4FE9-B326-076FD5F87C48}" destId="{98F66B43-BC9C-4AEA-AA87-F43907C37BD9}" srcOrd="7" destOrd="0" presId="urn:microsoft.com/office/officeart/2005/8/layout/lProcess3"/>
    <dgm:cxn modelId="{A783AD51-CB1D-4187-AA0A-1C8B879780F1}" type="presParOf" srcId="{2A5E2B7D-75C0-4FE9-B326-076FD5F87C48}" destId="{2BD73D85-B022-4EA6-B1B0-3C5278273746}" srcOrd="8" destOrd="0" presId="urn:microsoft.com/office/officeart/2005/8/layout/lProcess3"/>
    <dgm:cxn modelId="{2A6A5567-343C-43C3-94A5-18E7107D2674}" type="presParOf" srcId="{2A5E2B7D-75C0-4FE9-B326-076FD5F87C48}" destId="{1772F705-0EE5-49AF-8AEA-86F86F8B845F}" srcOrd="9" destOrd="0" presId="urn:microsoft.com/office/officeart/2005/8/layout/lProcess3"/>
    <dgm:cxn modelId="{CCF1230F-3864-4A54-8494-18DF49496031}" type="presParOf" srcId="{2A5E2B7D-75C0-4FE9-B326-076FD5F87C48}" destId="{874395BE-040C-4706-B13E-3A6D4A6A57CF}" srcOrd="10" destOrd="0" presId="urn:microsoft.com/office/officeart/2005/8/layout/lProcess3"/>
    <dgm:cxn modelId="{F0BF59E2-B6D8-4A11-9F0C-A34EB3DBB786}" type="presParOf" srcId="{2A5E2B7D-75C0-4FE9-B326-076FD5F87C48}" destId="{CFD5B519-88DA-453A-9D67-C7C581AFE891}" srcOrd="11" destOrd="0" presId="urn:microsoft.com/office/officeart/2005/8/layout/lProcess3"/>
    <dgm:cxn modelId="{1C408AE1-DD6C-417C-9162-34F9887F7FD1}" type="presParOf" srcId="{2A5E2B7D-75C0-4FE9-B326-076FD5F87C48}" destId="{85D7B7D3-83F5-4C9A-8D00-3A8450F954C1}" srcOrd="12" destOrd="0" presId="urn:microsoft.com/office/officeart/2005/8/layout/lProcess3"/>
    <dgm:cxn modelId="{C12C18AF-7763-4A5F-81CA-7BDD70FBD536}" type="presParOf" srcId="{2A5E2B7D-75C0-4FE9-B326-076FD5F87C48}" destId="{4C579025-8AC9-4066-B6D1-1A1337DB3CF1}" srcOrd="13" destOrd="0" presId="urn:microsoft.com/office/officeart/2005/8/layout/lProcess3"/>
    <dgm:cxn modelId="{C43BCD8A-D8E8-40A3-B68F-A974BA2ECBF6}" type="presParOf" srcId="{2A5E2B7D-75C0-4FE9-B326-076FD5F87C48}" destId="{E69D14FB-5309-47A4-99A0-AD5CA610ACAB}" srcOrd="14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 err="1"/>
            <a:t>Methodology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FMEA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/>
            <a:t>Data </a:t>
          </a:r>
          <a:r>
            <a:rPr lang="de-DE" dirty="0" err="1"/>
            <a:t>structures</a:t>
          </a:r>
          <a:r>
            <a:rPr lang="de-DE" dirty="0"/>
            <a:t>/</a:t>
          </a:r>
          <a:r>
            <a:rPr lang="de-DE" dirty="0" err="1"/>
            <a:t>handling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en-US" dirty="0"/>
            <a:t>Introduction</a:t>
          </a:r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1E38A8-E8DE-443C-818C-0168C732D142}">
      <dgm:prSet phldrT="[Text]"/>
      <dgm:spPr/>
      <dgm:t>
        <a:bodyPr/>
        <a:lstStyle/>
        <a:p>
          <a:r>
            <a:rPr lang="en-US" dirty="0"/>
            <a:t>Data Parsing/Provision</a:t>
          </a:r>
        </a:p>
      </dgm:t>
    </dgm:pt>
    <dgm:pt modelId="{84248B4E-E1B3-409D-A625-5EB2E1AC751D}" type="parTrans" cxnId="{30D235BF-51FA-4B9F-AE15-A9A8FBC9F02D}">
      <dgm:prSet/>
      <dgm:spPr/>
      <dgm:t>
        <a:bodyPr/>
        <a:lstStyle/>
        <a:p>
          <a:endParaRPr lang="de-DE"/>
        </a:p>
      </dgm:t>
    </dgm:pt>
    <dgm:pt modelId="{3B759F3D-05A1-49FC-B7F0-6CE1C023E78D}" type="sibTrans" cxnId="{30D235BF-51FA-4B9F-AE15-A9A8FBC9F02D}">
      <dgm:prSet/>
      <dgm:spPr/>
      <dgm:t>
        <a:bodyPr/>
        <a:lstStyle/>
        <a:p>
          <a:endParaRPr lang="de-DE"/>
        </a:p>
      </dgm:t>
    </dgm:pt>
    <dgm:pt modelId="{70CFF5B7-D943-4159-BD49-396CC1499235}">
      <dgm:prSet phldrT="[Text]"/>
      <dgm:spPr/>
      <dgm:t>
        <a:bodyPr/>
        <a:lstStyle/>
        <a:p>
          <a:r>
            <a:rPr lang="en-US" dirty="0"/>
            <a:t>Configuration Metadata</a:t>
          </a:r>
        </a:p>
      </dgm:t>
    </dgm:pt>
    <dgm:pt modelId="{8BFCD965-5579-4535-A7BD-227C94E9218E}" type="parTrans" cxnId="{ABA183E3-4D35-43F5-8FA4-B3ABA94E3750}">
      <dgm:prSet/>
      <dgm:spPr/>
      <dgm:t>
        <a:bodyPr/>
        <a:lstStyle/>
        <a:p>
          <a:endParaRPr lang="de-DE"/>
        </a:p>
      </dgm:t>
    </dgm:pt>
    <dgm:pt modelId="{8C16B314-2831-4F6A-BF87-6248EE4A6F08}" type="sibTrans" cxnId="{ABA183E3-4D35-43F5-8FA4-B3ABA94E3750}">
      <dgm:prSet/>
      <dgm:spPr/>
      <dgm:t>
        <a:bodyPr/>
        <a:lstStyle/>
        <a:p>
          <a:endParaRPr lang="de-DE"/>
        </a:p>
      </dgm:t>
    </dgm:pt>
    <dgm:pt modelId="{686676B7-AF55-4D35-8565-A8945C2CAC21}">
      <dgm:prSet phldrT="[Text]"/>
      <dgm:spPr/>
      <dgm:t>
        <a:bodyPr/>
        <a:lstStyle/>
        <a:p>
          <a:r>
            <a:rPr lang="en-US" dirty="0"/>
            <a:t>Data Processing</a:t>
          </a:r>
        </a:p>
      </dgm:t>
    </dgm:pt>
    <dgm:pt modelId="{806497D5-2562-4B70-A012-87426E1886E5}" type="parTrans" cxnId="{6CA27BEF-7459-4DB7-8505-9469F900583B}">
      <dgm:prSet/>
      <dgm:spPr/>
      <dgm:t>
        <a:bodyPr/>
        <a:lstStyle/>
        <a:p>
          <a:endParaRPr lang="de-DE"/>
        </a:p>
      </dgm:t>
    </dgm:pt>
    <dgm:pt modelId="{EEF4E22A-2CCF-4919-911A-92A298FE6E7F}" type="sibTrans" cxnId="{6CA27BEF-7459-4DB7-8505-9469F900583B}">
      <dgm:prSet/>
      <dgm:spPr/>
      <dgm:t>
        <a:bodyPr/>
        <a:lstStyle/>
        <a:p>
          <a:endParaRPr lang="de-DE"/>
        </a:p>
      </dgm:t>
    </dgm:pt>
    <dgm:pt modelId="{736C784E-BD81-4E62-BE35-68F84E816D14}">
      <dgm:prSet phldrT="[Text]"/>
      <dgm:spPr/>
      <dgm:t>
        <a:bodyPr/>
        <a:lstStyle/>
        <a:p>
          <a:r>
            <a:rPr lang="en-US" dirty="0"/>
            <a:t>Report visualization</a:t>
          </a:r>
        </a:p>
      </dgm:t>
    </dgm:pt>
    <dgm:pt modelId="{14C3899D-D97D-47BB-8224-57AEE1B4FD17}" type="parTrans" cxnId="{2A560699-7C27-4FC9-8982-4E255E2C53DD}">
      <dgm:prSet/>
      <dgm:spPr/>
      <dgm:t>
        <a:bodyPr/>
        <a:lstStyle/>
        <a:p>
          <a:endParaRPr lang="de-DE"/>
        </a:p>
      </dgm:t>
    </dgm:pt>
    <dgm:pt modelId="{3D9676FE-0552-4699-B046-BCD2BF634A25}" type="sibTrans" cxnId="{2A560699-7C27-4FC9-8982-4E255E2C53DD}">
      <dgm:prSet/>
      <dgm:spPr/>
      <dgm:t>
        <a:bodyPr/>
        <a:lstStyle/>
        <a:p>
          <a:endParaRPr lang="de-DE"/>
        </a:p>
      </dgm:t>
    </dgm:pt>
    <dgm:pt modelId="{3AC1C038-9C25-46FC-AFBF-18901EE8F108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DBF8AD2A-5C88-46E9-8B9C-6968D0987272}" type="parTrans" cxnId="{A2152C9F-1D64-420A-B3E3-07616019E69A}">
      <dgm:prSet/>
      <dgm:spPr/>
      <dgm:t>
        <a:bodyPr/>
        <a:lstStyle/>
        <a:p>
          <a:endParaRPr lang="de-DE"/>
        </a:p>
      </dgm:t>
    </dgm:pt>
    <dgm:pt modelId="{205D7381-CA92-4C71-98DD-DF96BDC5E78E}" type="sibTrans" cxnId="{A2152C9F-1D64-420A-B3E3-07616019E69A}">
      <dgm:prSet/>
      <dgm:spPr/>
      <dgm:t>
        <a:bodyPr/>
        <a:lstStyle/>
        <a:p>
          <a:endParaRPr lang="de-DE"/>
        </a:p>
      </dgm:t>
    </dgm:pt>
    <dgm:pt modelId="{0F218C94-5BB6-4E15-806B-710FD255D263}">
      <dgm:prSet phldrT="[Text]"/>
      <dgm:spPr/>
      <dgm:t>
        <a:bodyPr/>
        <a:lstStyle/>
        <a:p>
          <a:r>
            <a:rPr lang="en-US" dirty="0"/>
            <a:t>Check testing 1,2,3</a:t>
          </a:r>
        </a:p>
      </dgm:t>
    </dgm:pt>
    <dgm:pt modelId="{6CEF71FC-7889-4400-89DC-CE134523FD10}" type="parTrans" cxnId="{310FEF94-9538-4710-8A16-8339B2723A01}">
      <dgm:prSet/>
      <dgm:spPr/>
      <dgm:t>
        <a:bodyPr/>
        <a:lstStyle/>
        <a:p>
          <a:endParaRPr lang="de-DE"/>
        </a:p>
      </dgm:t>
    </dgm:pt>
    <dgm:pt modelId="{C9A592BD-0FA5-4E42-911C-86C5C8FB0303}" type="sibTrans" cxnId="{310FEF94-9538-4710-8A16-8339B2723A01}">
      <dgm:prSet/>
      <dgm:spPr/>
      <dgm:t>
        <a:bodyPr/>
        <a:lstStyle/>
        <a:p>
          <a:endParaRPr lang="de-DE"/>
        </a:p>
      </dgm:t>
    </dgm:pt>
    <dgm:pt modelId="{456D2ADF-5041-4816-9F81-DA2284952203}">
      <dgm:prSet phldrT="[Text]"/>
      <dgm:spPr/>
      <dgm:t>
        <a:bodyPr/>
        <a:lstStyle/>
        <a:p>
          <a:r>
            <a:rPr lang="en-US" dirty="0"/>
            <a:t>Implementation ecosystem</a:t>
          </a:r>
        </a:p>
      </dgm:t>
    </dgm:pt>
    <dgm:pt modelId="{DA496A18-93ED-466C-AF21-DD97D91AD11D}" type="parTrans" cxnId="{6AAD1634-D3F1-451D-B110-B791F1E54389}">
      <dgm:prSet/>
      <dgm:spPr/>
      <dgm:t>
        <a:bodyPr/>
        <a:lstStyle/>
        <a:p>
          <a:endParaRPr lang="de-DE"/>
        </a:p>
      </dgm:t>
    </dgm:pt>
    <dgm:pt modelId="{01E58AF7-5276-42D1-BE63-544225763AD0}" type="sibTrans" cxnId="{6AAD1634-D3F1-451D-B110-B791F1E54389}">
      <dgm:prSet/>
      <dgm:spPr/>
      <dgm:t>
        <a:bodyPr/>
        <a:lstStyle/>
        <a:p>
          <a:endParaRPr lang="de-DE"/>
        </a:p>
      </dgm:t>
    </dgm:pt>
    <dgm:pt modelId="{5C0EED3B-BAD9-43FF-9678-175BB6FF1BC9}">
      <dgm:prSet phldrT="[Text]"/>
      <dgm:spPr/>
      <dgm:t>
        <a:bodyPr/>
        <a:lstStyle/>
        <a:p>
          <a:r>
            <a:rPr lang="en-US" dirty="0"/>
            <a:t>Discussion/Potential</a:t>
          </a:r>
        </a:p>
      </dgm:t>
    </dgm:pt>
    <dgm:pt modelId="{ED3FB0F3-E7FC-4C90-9C3F-936C2A5507D0}" type="parTrans" cxnId="{F9FA52CA-70B8-4E93-AA37-AD40766AC27C}">
      <dgm:prSet/>
      <dgm:spPr/>
      <dgm:t>
        <a:bodyPr/>
        <a:lstStyle/>
        <a:p>
          <a:endParaRPr lang="de-DE"/>
        </a:p>
      </dgm:t>
    </dgm:pt>
    <dgm:pt modelId="{CEA4C046-5DD8-4D7A-A35E-D808DD8FB7A6}" type="sibTrans" cxnId="{F9FA52CA-70B8-4E93-AA37-AD40766AC27C}">
      <dgm:prSet/>
      <dgm:spPr/>
      <dgm:t>
        <a:bodyPr/>
        <a:lstStyle/>
        <a:p>
          <a:endParaRPr lang="de-DE"/>
        </a:p>
      </dgm:t>
    </dgm:pt>
    <dgm:pt modelId="{C19A5430-1C3A-49AE-96CE-B804AB3C2D9E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D0B6E19D-7640-4F9A-852B-2FAD6B28FDE0}" type="parTrans" cxnId="{703BA5E3-6434-4030-B73D-A2DEBCD17F6F}">
      <dgm:prSet/>
      <dgm:spPr/>
      <dgm:t>
        <a:bodyPr/>
        <a:lstStyle/>
        <a:p>
          <a:endParaRPr lang="de-DE"/>
        </a:p>
      </dgm:t>
    </dgm:pt>
    <dgm:pt modelId="{6B514589-FE3F-49C8-AEB9-D9084706826A}" type="sibTrans" cxnId="{703BA5E3-6434-4030-B73D-A2DEBCD17F6F}">
      <dgm:prSet/>
      <dgm:spPr/>
      <dgm:t>
        <a:bodyPr/>
        <a:lstStyle/>
        <a:p>
          <a:endParaRPr lang="de-DE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/>
            <a:t>Problem Statement</a:t>
          </a:r>
          <a:endParaRPr lang="en-US" dirty="0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0" presStyleCnt="20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1" presStyleCnt="20">
        <dgm:presLayoutVars>
          <dgm:bulletEnabled val="1"/>
        </dgm:presLayoutVars>
      </dgm:prSet>
      <dgm:spPr/>
    </dgm:pt>
    <dgm:pt modelId="{8F9F90CE-64F1-42B1-B63F-E61B4256DC4C}" type="pres">
      <dgm:prSet presAssocID="{088A9925-EA84-4D04-B5F7-33883F73DE0C}" presName="sibTrans" presStyleCnt="0"/>
      <dgm:spPr/>
    </dgm:pt>
    <dgm:pt modelId="{D1F829FC-5103-4AC9-B9FD-6CB932509BA5}" type="pres">
      <dgm:prSet presAssocID="{45E7156B-EE0A-4FC0-82D2-4361B6D0C4A3}" presName="node" presStyleLbl="alignAccFollowNode1" presStyleIdx="2" presStyleCnt="20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3" presStyleCnt="20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4" presStyleCnt="20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5" presStyleCnt="20">
        <dgm:presLayoutVars>
          <dgm:bulletEnabled val="1"/>
        </dgm:presLayoutVars>
      </dgm:prSet>
      <dgm:spPr/>
    </dgm:pt>
    <dgm:pt modelId="{E5C522CA-8623-432F-BC45-B7E1697779E7}" type="pres">
      <dgm:prSet presAssocID="{9DC24EDD-FDD8-4782-A280-0191EEF884FE}" presName="sibTrans" presStyleCnt="0"/>
      <dgm:spPr/>
    </dgm:pt>
    <dgm:pt modelId="{A8F3C0CB-B31C-4487-A339-D3C3D54B408A}" type="pres">
      <dgm:prSet presAssocID="{D31E38A8-E8DE-443C-818C-0168C732D142}" presName="node" presStyleLbl="alignAccFollowNode1" presStyleIdx="6" presStyleCnt="20">
        <dgm:presLayoutVars>
          <dgm:bulletEnabled val="1"/>
        </dgm:presLayoutVars>
      </dgm:prSet>
      <dgm:spPr/>
    </dgm:pt>
    <dgm:pt modelId="{96A990FE-0EDD-4378-840E-8BE5E0844601}" type="pres">
      <dgm:prSet presAssocID="{3B759F3D-05A1-49FC-B7F0-6CE1C023E78D}" presName="sibTrans" presStyleCnt="0"/>
      <dgm:spPr/>
    </dgm:pt>
    <dgm:pt modelId="{FE24FA5B-1A02-4347-81AE-81CED8B155B0}" type="pres">
      <dgm:prSet presAssocID="{70CFF5B7-D943-4159-BD49-396CC1499235}" presName="node" presStyleLbl="alignAccFollowNode1" presStyleIdx="7" presStyleCnt="20">
        <dgm:presLayoutVars>
          <dgm:bulletEnabled val="1"/>
        </dgm:presLayoutVars>
      </dgm:prSet>
      <dgm:spPr/>
    </dgm:pt>
    <dgm:pt modelId="{2CEBEA7D-711A-4A19-AE1E-BCE8A19A980F}" type="pres">
      <dgm:prSet presAssocID="{8C16B314-2831-4F6A-BF87-6248EE4A6F08}" presName="sibTrans" presStyleCnt="0"/>
      <dgm:spPr/>
    </dgm:pt>
    <dgm:pt modelId="{A534B931-3FEB-47B1-B323-5B3A01997C9D}" type="pres">
      <dgm:prSet presAssocID="{686676B7-AF55-4D35-8565-A8945C2CAC21}" presName="node" presStyleLbl="alignAccFollowNode1" presStyleIdx="8" presStyleCnt="20">
        <dgm:presLayoutVars>
          <dgm:bulletEnabled val="1"/>
        </dgm:presLayoutVars>
      </dgm:prSet>
      <dgm:spPr/>
    </dgm:pt>
    <dgm:pt modelId="{0EE4F48E-976C-402F-AF45-9D30089A8487}" type="pres">
      <dgm:prSet presAssocID="{EEF4E22A-2CCF-4919-911A-92A298FE6E7F}" presName="sibTrans" presStyleCnt="0"/>
      <dgm:spPr/>
    </dgm:pt>
    <dgm:pt modelId="{282BB5C7-1BB5-4650-971D-91C975944181}" type="pres">
      <dgm:prSet presAssocID="{736C784E-BD81-4E62-BE35-68F84E816D14}" presName="node" presStyleLbl="alignAccFollowNode1" presStyleIdx="9" presStyleCnt="20">
        <dgm:presLayoutVars>
          <dgm:bulletEnabled val="1"/>
        </dgm:presLayoutVars>
      </dgm:prSet>
      <dgm:spPr/>
    </dgm:pt>
    <dgm:pt modelId="{BF072DCD-8BB6-4CC4-9770-6C4F270236A7}" type="pres">
      <dgm:prSet presAssocID="{3D9676FE-0552-4699-B046-BCD2BF634A25}" presName="sibTrans" presStyleCnt="0"/>
      <dgm:spPr/>
    </dgm:pt>
    <dgm:pt modelId="{CF8E233A-579E-4E8F-ADAD-EED815A0AA83}" type="pres">
      <dgm:prSet presAssocID="{3AC1C038-9C25-46FC-AFBF-18901EE8F108}" presName="node" presStyleLbl="alignAccFollowNode1" presStyleIdx="10" presStyleCnt="20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11" presStyleCnt="20">
        <dgm:presLayoutVars>
          <dgm:bulletEnabled val="1"/>
        </dgm:presLayoutVars>
      </dgm:prSet>
      <dgm:spPr/>
    </dgm:pt>
    <dgm:pt modelId="{DD838746-879B-4EC6-9A0E-21F7106BF3AE}" type="pres">
      <dgm:prSet presAssocID="{6A3A0533-BD9B-4052-9EFC-BA2A3A98B66D}" presName="sibTrans" presStyleCnt="0"/>
      <dgm:spPr/>
    </dgm:pt>
    <dgm:pt modelId="{1E9BEE94-7A14-421C-91E5-1F29D6675224}" type="pres">
      <dgm:prSet presAssocID="{0F218C94-5BB6-4E15-806B-710FD255D263}" presName="node" presStyleLbl="alignAccFollowNode1" presStyleIdx="12" presStyleCnt="20">
        <dgm:presLayoutVars>
          <dgm:bulletEnabled val="1"/>
        </dgm:presLayoutVars>
      </dgm:prSet>
      <dgm:spPr/>
    </dgm:pt>
    <dgm:pt modelId="{A37376D8-7593-4145-A2F9-4703F094F8F3}" type="pres">
      <dgm:prSet presAssocID="{C9A592BD-0FA5-4E42-911C-86C5C8FB0303}" presName="sibTrans" presStyleCnt="0"/>
      <dgm:spPr/>
    </dgm:pt>
    <dgm:pt modelId="{7ABFCB9A-774A-48FE-B3BA-B3AB3E062DED}" type="pres">
      <dgm:prSet presAssocID="{456D2ADF-5041-4816-9F81-DA2284952203}" presName="node" presStyleLbl="alignAccFollowNode1" presStyleIdx="13" presStyleCnt="20">
        <dgm:presLayoutVars>
          <dgm:bulletEnabled val="1"/>
        </dgm:presLayoutVars>
      </dgm:prSet>
      <dgm:spPr/>
    </dgm:pt>
    <dgm:pt modelId="{1F97627C-4AC2-407A-99E0-A1AE388C5A6C}" type="pres">
      <dgm:prSet presAssocID="{01E58AF7-5276-42D1-BE63-544225763AD0}" presName="sibTrans" presStyleCnt="0"/>
      <dgm:spPr/>
    </dgm:pt>
    <dgm:pt modelId="{8C5E9B02-BD7A-443D-ACA8-35C084267E52}" type="pres">
      <dgm:prSet presAssocID="{5C0EED3B-BAD9-43FF-9678-175BB6FF1BC9}" presName="node" presStyleLbl="alignAccFollowNode1" presStyleIdx="14" presStyleCnt="20">
        <dgm:presLayoutVars>
          <dgm:bulletEnabled val="1"/>
        </dgm:presLayoutVars>
      </dgm:prSet>
      <dgm:spPr/>
    </dgm:pt>
    <dgm:pt modelId="{33A25B64-E17F-47A4-AFBF-48F1BDB348D1}" type="pres">
      <dgm:prSet presAssocID="{CEA4C046-5DD8-4D7A-A35E-D808DD8FB7A6}" presName="sibTrans" presStyleCnt="0"/>
      <dgm:spPr/>
    </dgm:pt>
    <dgm:pt modelId="{BB059354-92A8-4976-977F-ECC4B368E235}" type="pres">
      <dgm:prSet presAssocID="{C19A5430-1C3A-49AE-96CE-B804AB3C2D9E}" presName="node" presStyleLbl="alignAccFollowNode1" presStyleIdx="15" presStyleCnt="20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16" presStyleCnt="20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17" presStyleCnt="20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18" presStyleCnt="20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19" presStyleCnt="20">
        <dgm:presLayoutVars>
          <dgm:bulletEnabled val="1"/>
        </dgm:presLayoutVars>
      </dgm:prSet>
      <dgm:spPr/>
    </dgm:pt>
  </dgm:ptLst>
  <dgm:cxnLst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1E8DED09-35FB-41BC-A79C-09C81288452A}" type="presOf" srcId="{0F218C94-5BB6-4E15-806B-710FD255D263}" destId="{1E9BEE94-7A14-421C-91E5-1F29D6675224}" srcOrd="0" destOrd="0" presId="urn:microsoft.com/office/officeart/2005/8/layout/lProcess3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8AC3828-F7C4-4F7F-81CC-E08322146C49}" type="presOf" srcId="{736C784E-BD81-4E62-BE35-68F84E816D14}" destId="{282BB5C7-1BB5-4650-971D-91C975944181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6AAD1634-D3F1-451D-B110-B791F1E54389}" srcId="{97E6D244-62E0-4C63-AB7B-BD8AB315516F}" destId="{456D2ADF-5041-4816-9F81-DA2284952203}" srcOrd="2" destOrd="0" parTransId="{DA496A18-93ED-466C-AF21-DD97D91AD11D}" sibTransId="{01E58AF7-5276-42D1-BE63-544225763AD0}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B6E56A37-E60E-4CC6-AAB6-AC133C33163D}" type="presOf" srcId="{686676B7-AF55-4D35-8565-A8945C2CAC21}" destId="{A534B931-3FEB-47B1-B323-5B3A01997C9D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585B2E76-93BC-4609-82E5-C79F8FDE8A38}" type="presOf" srcId="{456D2ADF-5041-4816-9F81-DA2284952203}" destId="{7ABFCB9A-774A-48FE-B3BA-B3AB3E062DED}" srcOrd="0" destOrd="0" presId="urn:microsoft.com/office/officeart/2005/8/layout/lProcess3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C5F1BF7F-7606-4BC4-BFEC-C9C70715D24E}" type="presOf" srcId="{C19A5430-1C3A-49AE-96CE-B804AB3C2D9E}" destId="{BB059354-92A8-4976-977F-ECC4B368E235}" srcOrd="0" destOrd="0" presId="urn:microsoft.com/office/officeart/2005/8/layout/lProcess3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310FEF94-9538-4710-8A16-8339B2723A01}" srcId="{97E6D244-62E0-4C63-AB7B-BD8AB315516F}" destId="{0F218C94-5BB6-4E15-806B-710FD255D263}" srcOrd="1" destOrd="0" parTransId="{6CEF71FC-7889-4400-89DC-CE134523FD10}" sibTransId="{C9A592BD-0FA5-4E42-911C-86C5C8FB0303}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B6286497-FAA4-49CE-993C-B516DBDEBE58}" type="presOf" srcId="{5C0EED3B-BAD9-43FF-9678-175BB6FF1BC9}" destId="{8C5E9B02-BD7A-443D-ACA8-35C084267E52}" srcOrd="0" destOrd="0" presId="urn:microsoft.com/office/officeart/2005/8/layout/lProcess3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2A560699-7C27-4FC9-8982-4E255E2C53DD}" srcId="{673A41D3-F23F-4BEA-A002-66B4545C4E81}" destId="{736C784E-BD81-4E62-BE35-68F84E816D14}" srcOrd="4" destOrd="0" parTransId="{14C3899D-D97D-47BB-8224-57AEE1B4FD17}" sibTransId="{3D9676FE-0552-4699-B046-BCD2BF634A25}"/>
    <dgm:cxn modelId="{A2152C9F-1D64-420A-B3E3-07616019E69A}" srcId="{673A41D3-F23F-4BEA-A002-66B4545C4E81}" destId="{3AC1C038-9C25-46FC-AFBF-18901EE8F108}" srcOrd="5" destOrd="0" parTransId="{DBF8AD2A-5C88-46E9-8B9C-6968D0987272}" sibTransId="{205D7381-CA92-4C71-98DD-DF96BDC5E78E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6F04E0A6-9145-4C8C-B711-6011B96ED2E3}" type="presOf" srcId="{45E7156B-EE0A-4FC0-82D2-4361B6D0C4A3}" destId="{D1F829FC-5103-4AC9-B9FD-6CB932509BA5}" srcOrd="0" destOrd="0" presId="urn:microsoft.com/office/officeart/2005/8/layout/lProcess3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30D235BF-51FA-4B9F-AE15-A9A8FBC9F02D}" srcId="{673A41D3-F23F-4BEA-A002-66B4545C4E81}" destId="{D31E38A8-E8DE-443C-818C-0168C732D142}" srcOrd="1" destOrd="0" parTransId="{84248B4E-E1B3-409D-A625-5EB2E1AC751D}" sibTransId="{3B759F3D-05A1-49FC-B7F0-6CE1C023E78D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F9FA52CA-70B8-4E93-AA37-AD40766AC27C}" srcId="{97E6D244-62E0-4C63-AB7B-BD8AB315516F}" destId="{5C0EED3B-BAD9-43FF-9678-175BB6FF1BC9}" srcOrd="3" destOrd="0" parTransId="{ED3FB0F3-E7FC-4C90-9C3F-936C2A5507D0}" sibTransId="{CEA4C046-5DD8-4D7A-A35E-D808DD8FB7A6}"/>
    <dgm:cxn modelId="{FB8019CF-AE7B-4C5C-B8A0-600EF78FDED8}" type="presOf" srcId="{D31E38A8-E8DE-443C-818C-0168C732D142}" destId="{A8F3C0CB-B31C-4487-A339-D3C3D54B408A}" srcOrd="0" destOrd="0" presId="urn:microsoft.com/office/officeart/2005/8/layout/lProcess3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F7ECE5DB-203C-4868-B9D4-80873248C997}" srcId="{20B4FD1D-7CA0-4D3B-B37B-93F2243D1945}" destId="{45E7156B-EE0A-4FC0-82D2-4361B6D0C4A3}" srcOrd="2" destOrd="0" parTransId="{DA0AB7BC-1C00-4BC1-BD64-06EAB9700DE3}" sibTransId="{E6521B79-093A-4B03-920E-43CAD89D44AB}"/>
    <dgm:cxn modelId="{E45C0BE2-DA84-4CAF-B2D9-94C1BD0ABE5C}" type="presOf" srcId="{70CFF5B7-D943-4159-BD49-396CC1499235}" destId="{FE24FA5B-1A02-4347-81AE-81CED8B155B0}" srcOrd="0" destOrd="0" presId="urn:microsoft.com/office/officeart/2005/8/layout/lProcess3"/>
    <dgm:cxn modelId="{ABA183E3-4D35-43F5-8FA4-B3ABA94E3750}" srcId="{673A41D3-F23F-4BEA-A002-66B4545C4E81}" destId="{70CFF5B7-D943-4159-BD49-396CC1499235}" srcOrd="2" destOrd="0" parTransId="{8BFCD965-5579-4535-A7BD-227C94E9218E}" sibTransId="{8C16B314-2831-4F6A-BF87-6248EE4A6F08}"/>
    <dgm:cxn modelId="{703BA5E3-6434-4030-B73D-A2DEBCD17F6F}" srcId="{97E6D244-62E0-4C63-AB7B-BD8AB315516F}" destId="{C19A5430-1C3A-49AE-96CE-B804AB3C2D9E}" srcOrd="4" destOrd="0" parTransId="{D0B6E19D-7640-4F9A-852B-2FAD6B28FDE0}" sibTransId="{6B514589-FE3F-49C8-AEB9-D9084706826A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6CA27BEF-7459-4DB7-8505-9469F900583B}" srcId="{673A41D3-F23F-4BEA-A002-66B4545C4E81}" destId="{686676B7-AF55-4D35-8565-A8945C2CAC21}" srcOrd="3" destOrd="0" parTransId="{806497D5-2562-4B70-A012-87426E1886E5}" sibTransId="{EEF4E22A-2CCF-4919-911A-92A298FE6E7F}"/>
    <dgm:cxn modelId="{33D8D2F1-B6AE-4702-AC56-81A89A377CEE}" type="presOf" srcId="{3AC1C038-9C25-46FC-AFBF-18901EE8F108}" destId="{CF8E233A-579E-4E8F-ADAD-EED815A0AA83}" srcOrd="0" destOrd="0" presId="urn:microsoft.com/office/officeart/2005/8/layout/lProcess3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09EF88CB-F3DD-4B4B-9FD4-B6E54340A185}" type="presParOf" srcId="{E9F97D91-2B87-4529-B224-C4B8AEDC4D07}" destId="{8F9F90CE-64F1-42B1-B63F-E61B4256DC4C}" srcOrd="5" destOrd="0" presId="urn:microsoft.com/office/officeart/2005/8/layout/lProcess3"/>
    <dgm:cxn modelId="{CA771184-3016-4D63-9BD0-4A446A6C133A}" type="presParOf" srcId="{E9F97D91-2B87-4529-B224-C4B8AEDC4D07}" destId="{D1F829FC-5103-4AC9-B9FD-6CB932509BA5}" srcOrd="6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8A6FE4E-C1C4-40A5-8134-09B0C6524A30}" type="presParOf" srcId="{2018E185-BA9E-4DA7-BDED-717D54DB8284}" destId="{E5C522CA-8623-432F-BC45-B7E1697779E7}" srcOrd="3" destOrd="0" presId="urn:microsoft.com/office/officeart/2005/8/layout/lProcess3"/>
    <dgm:cxn modelId="{8106ED82-17AE-47DE-AFD1-797495E219FF}" type="presParOf" srcId="{2018E185-BA9E-4DA7-BDED-717D54DB8284}" destId="{A8F3C0CB-B31C-4487-A339-D3C3D54B408A}" srcOrd="4" destOrd="0" presId="urn:microsoft.com/office/officeart/2005/8/layout/lProcess3"/>
    <dgm:cxn modelId="{4710738A-3784-4123-AC8C-636A50C3A4E6}" type="presParOf" srcId="{2018E185-BA9E-4DA7-BDED-717D54DB8284}" destId="{96A990FE-0EDD-4378-840E-8BE5E0844601}" srcOrd="5" destOrd="0" presId="urn:microsoft.com/office/officeart/2005/8/layout/lProcess3"/>
    <dgm:cxn modelId="{EF2E72D1-1A81-4437-AF16-C22B02A86E60}" type="presParOf" srcId="{2018E185-BA9E-4DA7-BDED-717D54DB8284}" destId="{FE24FA5B-1A02-4347-81AE-81CED8B155B0}" srcOrd="6" destOrd="0" presId="urn:microsoft.com/office/officeart/2005/8/layout/lProcess3"/>
    <dgm:cxn modelId="{70B1B69E-030E-41AF-9904-4AEBCACAC6A5}" type="presParOf" srcId="{2018E185-BA9E-4DA7-BDED-717D54DB8284}" destId="{2CEBEA7D-711A-4A19-AE1E-BCE8A19A980F}" srcOrd="7" destOrd="0" presId="urn:microsoft.com/office/officeart/2005/8/layout/lProcess3"/>
    <dgm:cxn modelId="{7DD703A1-0789-413E-BBED-152A9E9BD427}" type="presParOf" srcId="{2018E185-BA9E-4DA7-BDED-717D54DB8284}" destId="{A534B931-3FEB-47B1-B323-5B3A01997C9D}" srcOrd="8" destOrd="0" presId="urn:microsoft.com/office/officeart/2005/8/layout/lProcess3"/>
    <dgm:cxn modelId="{3105D19C-3CC9-48BC-A7D3-AA493CAAB459}" type="presParOf" srcId="{2018E185-BA9E-4DA7-BDED-717D54DB8284}" destId="{0EE4F48E-976C-402F-AF45-9D30089A8487}" srcOrd="9" destOrd="0" presId="urn:microsoft.com/office/officeart/2005/8/layout/lProcess3"/>
    <dgm:cxn modelId="{119B0534-F2BE-47E9-A32D-991167E9C58F}" type="presParOf" srcId="{2018E185-BA9E-4DA7-BDED-717D54DB8284}" destId="{282BB5C7-1BB5-4650-971D-91C975944181}" srcOrd="10" destOrd="0" presId="urn:microsoft.com/office/officeart/2005/8/layout/lProcess3"/>
    <dgm:cxn modelId="{48C8B9EC-9B7C-4FE2-B178-973140BD1E43}" type="presParOf" srcId="{2018E185-BA9E-4DA7-BDED-717D54DB8284}" destId="{BF072DCD-8BB6-4CC4-9770-6C4F270236A7}" srcOrd="11" destOrd="0" presId="urn:microsoft.com/office/officeart/2005/8/layout/lProcess3"/>
    <dgm:cxn modelId="{1F83C778-D831-492C-B0F5-7C55D936DAB8}" type="presParOf" srcId="{2018E185-BA9E-4DA7-BDED-717D54DB8284}" destId="{CF8E233A-579E-4E8F-ADAD-EED815A0AA83}" srcOrd="12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9511010B-79CA-4D71-A1ED-BCFBBFF4BD37}" type="presParOf" srcId="{2A5E2B7D-75C0-4FE9-B326-076FD5F87C48}" destId="{DD838746-879B-4EC6-9A0E-21F7106BF3AE}" srcOrd="3" destOrd="0" presId="urn:microsoft.com/office/officeart/2005/8/layout/lProcess3"/>
    <dgm:cxn modelId="{48FBC894-1D9E-448A-AF13-04D94F3B74D4}" type="presParOf" srcId="{2A5E2B7D-75C0-4FE9-B326-076FD5F87C48}" destId="{1E9BEE94-7A14-421C-91E5-1F29D6675224}" srcOrd="4" destOrd="0" presId="urn:microsoft.com/office/officeart/2005/8/layout/lProcess3"/>
    <dgm:cxn modelId="{ACBF2546-00C1-420D-ACE0-3F47C246181E}" type="presParOf" srcId="{2A5E2B7D-75C0-4FE9-B326-076FD5F87C48}" destId="{A37376D8-7593-4145-A2F9-4703F094F8F3}" srcOrd="5" destOrd="0" presId="urn:microsoft.com/office/officeart/2005/8/layout/lProcess3"/>
    <dgm:cxn modelId="{FE114857-8D81-4963-AF93-90B107C5041D}" type="presParOf" srcId="{2A5E2B7D-75C0-4FE9-B326-076FD5F87C48}" destId="{7ABFCB9A-774A-48FE-B3BA-B3AB3E062DED}" srcOrd="6" destOrd="0" presId="urn:microsoft.com/office/officeart/2005/8/layout/lProcess3"/>
    <dgm:cxn modelId="{1248C119-22DD-4FED-AE42-9627BF8140B3}" type="presParOf" srcId="{2A5E2B7D-75C0-4FE9-B326-076FD5F87C48}" destId="{1F97627C-4AC2-407A-99E0-A1AE388C5A6C}" srcOrd="7" destOrd="0" presId="urn:microsoft.com/office/officeart/2005/8/layout/lProcess3"/>
    <dgm:cxn modelId="{2CAAB2E8-DE9E-4B47-8F4D-85B3D6AF6BC3}" type="presParOf" srcId="{2A5E2B7D-75C0-4FE9-B326-076FD5F87C48}" destId="{8C5E9B02-BD7A-443D-ACA8-35C084267E52}" srcOrd="8" destOrd="0" presId="urn:microsoft.com/office/officeart/2005/8/layout/lProcess3"/>
    <dgm:cxn modelId="{174309EC-81F7-4CB1-B3A6-B85A113D3D68}" type="presParOf" srcId="{2A5E2B7D-75C0-4FE9-B326-076FD5F87C48}" destId="{33A25B64-E17F-47A4-AFBF-48F1BDB348D1}" srcOrd="9" destOrd="0" presId="urn:microsoft.com/office/officeart/2005/8/layout/lProcess3"/>
    <dgm:cxn modelId="{8A55FA03-BDAB-4F00-879C-61C61B6834E7}" type="presParOf" srcId="{2A5E2B7D-75C0-4FE9-B326-076FD5F87C48}" destId="{BB059354-92A8-4976-977F-ECC4B368E235}" srcOrd="10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264C4E-3058-4DA0-A6F5-DF7256E4672E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14CD1A6-9212-4DB0-A3BF-1724ADE34284}">
      <dgm:prSet phldrT="[Text]"/>
      <dgm:spPr/>
      <dgm:t>
        <a:bodyPr/>
        <a:lstStyle/>
        <a:p>
          <a:r>
            <a:rPr lang="de-DE" dirty="0" err="1"/>
            <a:t>Semiotics</a:t>
          </a:r>
          <a:endParaRPr lang="de-DE" dirty="0"/>
        </a:p>
      </dgm:t>
    </dgm:pt>
    <dgm:pt modelId="{569FC702-DAD2-4ED2-9065-7D0451A8DBA9}" type="parTrans" cxnId="{DE22C6A9-FA75-46E6-8417-FFCDC0B425F9}">
      <dgm:prSet/>
      <dgm:spPr/>
      <dgm:t>
        <a:bodyPr/>
        <a:lstStyle/>
        <a:p>
          <a:endParaRPr lang="de-DE"/>
        </a:p>
      </dgm:t>
    </dgm:pt>
    <dgm:pt modelId="{052AF5E0-937C-4718-94DE-8E116564E5FD}" type="sibTrans" cxnId="{DE22C6A9-FA75-46E6-8417-FFCDC0B425F9}">
      <dgm:prSet/>
      <dgm:spPr/>
      <dgm:t>
        <a:bodyPr/>
        <a:lstStyle/>
        <a:p>
          <a:endParaRPr lang="de-DE"/>
        </a:p>
      </dgm:t>
    </dgm:pt>
    <dgm:pt modelId="{A8611AB5-065D-4FBF-B8B0-93DE514BDE54}">
      <dgm:prSet phldrT="[Text]"/>
      <dgm:spPr/>
      <dgm:t>
        <a:bodyPr/>
        <a:lstStyle/>
        <a:p>
          <a:r>
            <a:rPr lang="de-DE" dirty="0" err="1"/>
            <a:t>Pragmatics</a:t>
          </a:r>
          <a:endParaRPr lang="de-DE" dirty="0"/>
        </a:p>
      </dgm:t>
    </dgm:pt>
    <dgm:pt modelId="{0162E46C-6351-42DC-9BAD-289E799248CC}" type="parTrans" cxnId="{B529EC00-E2B5-40A3-908E-A1451987C260}">
      <dgm:prSet/>
      <dgm:spPr/>
      <dgm:t>
        <a:bodyPr/>
        <a:lstStyle/>
        <a:p>
          <a:endParaRPr lang="de-DE"/>
        </a:p>
      </dgm:t>
    </dgm:pt>
    <dgm:pt modelId="{AE4EF9CF-F801-42B9-9A2E-973BD1875685}" type="sibTrans" cxnId="{B529EC00-E2B5-40A3-908E-A1451987C260}">
      <dgm:prSet/>
      <dgm:spPr/>
      <dgm:t>
        <a:bodyPr/>
        <a:lstStyle/>
        <a:p>
          <a:endParaRPr lang="de-DE"/>
        </a:p>
      </dgm:t>
    </dgm:pt>
    <dgm:pt modelId="{456B81FE-12F6-46F9-8C79-3BB498273C71}">
      <dgm:prSet phldrT="[Text]"/>
      <dgm:spPr/>
      <dgm:t>
        <a:bodyPr/>
        <a:lstStyle/>
        <a:p>
          <a:r>
            <a:rPr lang="de-DE" dirty="0" err="1"/>
            <a:t>Semantics</a:t>
          </a:r>
          <a:endParaRPr lang="de-DE" dirty="0"/>
        </a:p>
      </dgm:t>
    </dgm:pt>
    <dgm:pt modelId="{47931CB2-67F9-468E-9C70-9C092D6C7766}" type="parTrans" cxnId="{819EA2A1-763D-4078-892A-D432A123082E}">
      <dgm:prSet/>
      <dgm:spPr/>
      <dgm:t>
        <a:bodyPr/>
        <a:lstStyle/>
        <a:p>
          <a:endParaRPr lang="de-DE"/>
        </a:p>
      </dgm:t>
    </dgm:pt>
    <dgm:pt modelId="{64F712A8-5EB5-4C4C-92EA-66FDC79AC277}" type="sibTrans" cxnId="{819EA2A1-763D-4078-892A-D432A123082E}">
      <dgm:prSet/>
      <dgm:spPr/>
      <dgm:t>
        <a:bodyPr/>
        <a:lstStyle/>
        <a:p>
          <a:endParaRPr lang="de-DE"/>
        </a:p>
      </dgm:t>
    </dgm:pt>
    <dgm:pt modelId="{2BD42DD9-9CEA-4644-8D4E-6BAB9DE7EBA5}">
      <dgm:prSet phldrT="[Text]"/>
      <dgm:spPr/>
      <dgm:t>
        <a:bodyPr/>
        <a:lstStyle/>
        <a:p>
          <a:r>
            <a:rPr lang="de-DE" dirty="0" err="1"/>
            <a:t>Syntactics</a:t>
          </a:r>
          <a:endParaRPr lang="de-DE" dirty="0"/>
        </a:p>
      </dgm:t>
    </dgm:pt>
    <dgm:pt modelId="{59D5AD9E-60F0-48C0-BACA-D9A4D73E8F8F}" type="parTrans" cxnId="{0A918DDF-5FE6-4AC8-8766-18B7389176AD}">
      <dgm:prSet/>
      <dgm:spPr/>
      <dgm:t>
        <a:bodyPr/>
        <a:lstStyle/>
        <a:p>
          <a:endParaRPr lang="de-DE"/>
        </a:p>
      </dgm:t>
    </dgm:pt>
    <dgm:pt modelId="{54D712B0-BAFE-4B46-8149-3D6F6D54B9F6}" type="sibTrans" cxnId="{0A918DDF-5FE6-4AC8-8766-18B7389176AD}">
      <dgm:prSet/>
      <dgm:spPr/>
      <dgm:t>
        <a:bodyPr/>
        <a:lstStyle/>
        <a:p>
          <a:endParaRPr lang="de-DE"/>
        </a:p>
      </dgm:t>
    </dgm:pt>
    <dgm:pt modelId="{E6B139EA-E166-4E9C-A545-8F6A79DEF558}" type="pres">
      <dgm:prSet presAssocID="{AF264C4E-3058-4DA0-A6F5-DF7256E4672E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7B70BD2-AF4D-4326-A061-AF3ACCE4586A}" type="pres">
      <dgm:prSet presAssocID="{714CD1A6-9212-4DB0-A3BF-1724ADE34284}" presName="centerShape" presStyleLbl="node0" presStyleIdx="0" presStyleCnt="1"/>
      <dgm:spPr/>
    </dgm:pt>
    <dgm:pt modelId="{058090B1-DEFA-467C-B052-6CDA9FCB5860}" type="pres">
      <dgm:prSet presAssocID="{A8611AB5-065D-4FBF-B8B0-93DE514BDE54}" presName="node" presStyleLbl="node1" presStyleIdx="0" presStyleCnt="3">
        <dgm:presLayoutVars>
          <dgm:bulletEnabled val="1"/>
        </dgm:presLayoutVars>
      </dgm:prSet>
      <dgm:spPr/>
    </dgm:pt>
    <dgm:pt modelId="{86A83CBE-45F9-496A-8077-7CE3C1B985B9}" type="pres">
      <dgm:prSet presAssocID="{A8611AB5-065D-4FBF-B8B0-93DE514BDE54}" presName="dummy" presStyleCnt="0"/>
      <dgm:spPr/>
    </dgm:pt>
    <dgm:pt modelId="{5F9FC392-99BA-42CB-81D8-010DDF2422BB}" type="pres">
      <dgm:prSet presAssocID="{AE4EF9CF-F801-42B9-9A2E-973BD1875685}" presName="sibTrans" presStyleLbl="sibTrans2D1" presStyleIdx="0" presStyleCnt="3"/>
      <dgm:spPr/>
    </dgm:pt>
    <dgm:pt modelId="{419242EA-711E-497C-A0D4-92DD5790CA4B}" type="pres">
      <dgm:prSet presAssocID="{456B81FE-12F6-46F9-8C79-3BB498273C71}" presName="node" presStyleLbl="node1" presStyleIdx="1" presStyleCnt="3">
        <dgm:presLayoutVars>
          <dgm:bulletEnabled val="1"/>
        </dgm:presLayoutVars>
      </dgm:prSet>
      <dgm:spPr/>
    </dgm:pt>
    <dgm:pt modelId="{6A4E3332-0B09-4028-97CB-38ADB7FBB7BE}" type="pres">
      <dgm:prSet presAssocID="{456B81FE-12F6-46F9-8C79-3BB498273C71}" presName="dummy" presStyleCnt="0"/>
      <dgm:spPr/>
    </dgm:pt>
    <dgm:pt modelId="{6BDC771B-CD24-4B34-B6E1-2947EF26176D}" type="pres">
      <dgm:prSet presAssocID="{64F712A8-5EB5-4C4C-92EA-66FDC79AC277}" presName="sibTrans" presStyleLbl="sibTrans2D1" presStyleIdx="1" presStyleCnt="3"/>
      <dgm:spPr/>
    </dgm:pt>
    <dgm:pt modelId="{BE4F082B-93AB-47B3-A14A-B81B56810595}" type="pres">
      <dgm:prSet presAssocID="{2BD42DD9-9CEA-4644-8D4E-6BAB9DE7EBA5}" presName="node" presStyleLbl="node1" presStyleIdx="2" presStyleCnt="3">
        <dgm:presLayoutVars>
          <dgm:bulletEnabled val="1"/>
        </dgm:presLayoutVars>
      </dgm:prSet>
      <dgm:spPr/>
    </dgm:pt>
    <dgm:pt modelId="{BBD52CED-9EF0-441B-9BB8-5E3DB38A5471}" type="pres">
      <dgm:prSet presAssocID="{2BD42DD9-9CEA-4644-8D4E-6BAB9DE7EBA5}" presName="dummy" presStyleCnt="0"/>
      <dgm:spPr/>
    </dgm:pt>
    <dgm:pt modelId="{5C7296D7-D10A-4EC6-9374-BE8D82C225D3}" type="pres">
      <dgm:prSet presAssocID="{54D712B0-BAFE-4B46-8149-3D6F6D54B9F6}" presName="sibTrans" presStyleLbl="sibTrans2D1" presStyleIdx="2" presStyleCnt="3"/>
      <dgm:spPr/>
    </dgm:pt>
  </dgm:ptLst>
  <dgm:cxnLst>
    <dgm:cxn modelId="{B529EC00-E2B5-40A3-908E-A1451987C260}" srcId="{714CD1A6-9212-4DB0-A3BF-1724ADE34284}" destId="{A8611AB5-065D-4FBF-B8B0-93DE514BDE54}" srcOrd="0" destOrd="0" parTransId="{0162E46C-6351-42DC-9BAD-289E799248CC}" sibTransId="{AE4EF9CF-F801-42B9-9A2E-973BD1875685}"/>
    <dgm:cxn modelId="{F412B00A-0EA5-4A08-8FD5-708E68E90113}" type="presOf" srcId="{AF264C4E-3058-4DA0-A6F5-DF7256E4672E}" destId="{E6B139EA-E166-4E9C-A545-8F6A79DEF558}" srcOrd="0" destOrd="0" presId="urn:microsoft.com/office/officeart/2005/8/layout/radial6"/>
    <dgm:cxn modelId="{057FA117-8E66-4166-985E-58A506332D9A}" type="presOf" srcId="{456B81FE-12F6-46F9-8C79-3BB498273C71}" destId="{419242EA-711E-497C-A0D4-92DD5790CA4B}" srcOrd="0" destOrd="0" presId="urn:microsoft.com/office/officeart/2005/8/layout/radial6"/>
    <dgm:cxn modelId="{DB860942-F31A-4C07-8BAF-194553CE6C9C}" type="presOf" srcId="{64F712A8-5EB5-4C4C-92EA-66FDC79AC277}" destId="{6BDC771B-CD24-4B34-B6E1-2947EF26176D}" srcOrd="0" destOrd="0" presId="urn:microsoft.com/office/officeart/2005/8/layout/radial6"/>
    <dgm:cxn modelId="{A38C7F43-162C-4B5C-AB42-B282C7FF9CB9}" type="presOf" srcId="{714CD1A6-9212-4DB0-A3BF-1724ADE34284}" destId="{37B70BD2-AF4D-4326-A061-AF3ACCE4586A}" srcOrd="0" destOrd="0" presId="urn:microsoft.com/office/officeart/2005/8/layout/radial6"/>
    <dgm:cxn modelId="{4F7E2B47-ED9C-45A6-B001-79871EAF6C36}" type="presOf" srcId="{54D712B0-BAFE-4B46-8149-3D6F6D54B9F6}" destId="{5C7296D7-D10A-4EC6-9374-BE8D82C225D3}" srcOrd="0" destOrd="0" presId="urn:microsoft.com/office/officeart/2005/8/layout/radial6"/>
    <dgm:cxn modelId="{2507499D-43EF-41ED-8C0F-EC62C730A1CD}" type="presOf" srcId="{A8611AB5-065D-4FBF-B8B0-93DE514BDE54}" destId="{058090B1-DEFA-467C-B052-6CDA9FCB5860}" srcOrd="0" destOrd="0" presId="urn:microsoft.com/office/officeart/2005/8/layout/radial6"/>
    <dgm:cxn modelId="{819EA2A1-763D-4078-892A-D432A123082E}" srcId="{714CD1A6-9212-4DB0-A3BF-1724ADE34284}" destId="{456B81FE-12F6-46F9-8C79-3BB498273C71}" srcOrd="1" destOrd="0" parTransId="{47931CB2-67F9-468E-9C70-9C092D6C7766}" sibTransId="{64F712A8-5EB5-4C4C-92EA-66FDC79AC277}"/>
    <dgm:cxn modelId="{DE22C6A9-FA75-46E6-8417-FFCDC0B425F9}" srcId="{AF264C4E-3058-4DA0-A6F5-DF7256E4672E}" destId="{714CD1A6-9212-4DB0-A3BF-1724ADE34284}" srcOrd="0" destOrd="0" parTransId="{569FC702-DAD2-4ED2-9065-7D0451A8DBA9}" sibTransId="{052AF5E0-937C-4718-94DE-8E116564E5FD}"/>
    <dgm:cxn modelId="{67A543CF-5F2E-4B3C-AF29-F0151563620A}" type="presOf" srcId="{2BD42DD9-9CEA-4644-8D4E-6BAB9DE7EBA5}" destId="{BE4F082B-93AB-47B3-A14A-B81B56810595}" srcOrd="0" destOrd="0" presId="urn:microsoft.com/office/officeart/2005/8/layout/radial6"/>
    <dgm:cxn modelId="{0A918DDF-5FE6-4AC8-8766-18B7389176AD}" srcId="{714CD1A6-9212-4DB0-A3BF-1724ADE34284}" destId="{2BD42DD9-9CEA-4644-8D4E-6BAB9DE7EBA5}" srcOrd="2" destOrd="0" parTransId="{59D5AD9E-60F0-48C0-BACA-D9A4D73E8F8F}" sibTransId="{54D712B0-BAFE-4B46-8149-3D6F6D54B9F6}"/>
    <dgm:cxn modelId="{B6BC0EE1-8527-4DF3-B7B2-2716A9268B8A}" type="presOf" srcId="{AE4EF9CF-F801-42B9-9A2E-973BD1875685}" destId="{5F9FC392-99BA-42CB-81D8-010DDF2422BB}" srcOrd="0" destOrd="0" presId="urn:microsoft.com/office/officeart/2005/8/layout/radial6"/>
    <dgm:cxn modelId="{922D4D7B-1FD0-4715-8777-7E51F912041B}" type="presParOf" srcId="{E6B139EA-E166-4E9C-A545-8F6A79DEF558}" destId="{37B70BD2-AF4D-4326-A061-AF3ACCE4586A}" srcOrd="0" destOrd="0" presId="urn:microsoft.com/office/officeart/2005/8/layout/radial6"/>
    <dgm:cxn modelId="{14F0178A-1544-411D-B70C-2774369D3E22}" type="presParOf" srcId="{E6B139EA-E166-4E9C-A545-8F6A79DEF558}" destId="{058090B1-DEFA-467C-B052-6CDA9FCB5860}" srcOrd="1" destOrd="0" presId="urn:microsoft.com/office/officeart/2005/8/layout/radial6"/>
    <dgm:cxn modelId="{91FE6C21-6865-49D1-B6A1-5A5FF527E3E4}" type="presParOf" srcId="{E6B139EA-E166-4E9C-A545-8F6A79DEF558}" destId="{86A83CBE-45F9-496A-8077-7CE3C1B985B9}" srcOrd="2" destOrd="0" presId="urn:microsoft.com/office/officeart/2005/8/layout/radial6"/>
    <dgm:cxn modelId="{2DA194AD-E444-4E58-9013-7CD33F2ECF4F}" type="presParOf" srcId="{E6B139EA-E166-4E9C-A545-8F6A79DEF558}" destId="{5F9FC392-99BA-42CB-81D8-010DDF2422BB}" srcOrd="3" destOrd="0" presId="urn:microsoft.com/office/officeart/2005/8/layout/radial6"/>
    <dgm:cxn modelId="{0D1228C1-D22B-46D5-9F23-58F7C9A9C77C}" type="presParOf" srcId="{E6B139EA-E166-4E9C-A545-8F6A79DEF558}" destId="{419242EA-711E-497C-A0D4-92DD5790CA4B}" srcOrd="4" destOrd="0" presId="urn:microsoft.com/office/officeart/2005/8/layout/radial6"/>
    <dgm:cxn modelId="{F5FB26BC-E9FB-4EE8-BA88-4E8CA954FCCE}" type="presParOf" srcId="{E6B139EA-E166-4E9C-A545-8F6A79DEF558}" destId="{6A4E3332-0B09-4028-97CB-38ADB7FBB7BE}" srcOrd="5" destOrd="0" presId="urn:microsoft.com/office/officeart/2005/8/layout/radial6"/>
    <dgm:cxn modelId="{C3FF2AD3-9F29-4BF0-A215-5251F7B3C8CD}" type="presParOf" srcId="{E6B139EA-E166-4E9C-A545-8F6A79DEF558}" destId="{6BDC771B-CD24-4B34-B6E1-2947EF26176D}" srcOrd="6" destOrd="0" presId="urn:microsoft.com/office/officeart/2005/8/layout/radial6"/>
    <dgm:cxn modelId="{8B6D97CD-406B-46B8-843A-7F182DFA2F4D}" type="presParOf" srcId="{E6B139EA-E166-4E9C-A545-8F6A79DEF558}" destId="{BE4F082B-93AB-47B3-A14A-B81B56810595}" srcOrd="7" destOrd="0" presId="urn:microsoft.com/office/officeart/2005/8/layout/radial6"/>
    <dgm:cxn modelId="{87DDEA6F-5083-40FF-A35C-E7615CBB5672}" type="presParOf" srcId="{E6B139EA-E166-4E9C-A545-8F6A79DEF558}" destId="{BBD52CED-9EF0-441B-9BB8-5E3DB38A5471}" srcOrd="8" destOrd="0" presId="urn:microsoft.com/office/officeart/2005/8/layout/radial6"/>
    <dgm:cxn modelId="{95F6E824-15A1-4732-B9F8-6BDF3D9F2EC4}" type="presParOf" srcId="{E6B139EA-E166-4E9C-A545-8F6A79DEF558}" destId="{5C7296D7-D10A-4EC6-9374-BE8D82C225D3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E02CFE8-CA39-402B-B426-A91228F54F1C}" type="doc">
      <dgm:prSet loTypeId="urn:microsoft.com/office/officeart/2005/8/layout/hierarchy6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de-DE"/>
        </a:p>
      </dgm:t>
    </dgm:pt>
    <dgm:pt modelId="{56483AF1-C635-4A4B-A2C5-D80E534BADC5}">
      <dgm:prSet phldrT="[Text]"/>
      <dgm:spPr/>
      <dgm:t>
        <a:bodyPr/>
        <a:lstStyle/>
        <a:p>
          <a:r>
            <a:rPr lang="de-DE" dirty="0"/>
            <a:t>Element</a:t>
          </a:r>
        </a:p>
      </dgm:t>
    </dgm:pt>
    <dgm:pt modelId="{C3019227-1575-4642-94D6-DE3C9AA0990C}" type="parTrans" cxnId="{9A9EE405-83B6-4577-9652-A6E28BF384B1}">
      <dgm:prSet/>
      <dgm:spPr/>
      <dgm:t>
        <a:bodyPr/>
        <a:lstStyle/>
        <a:p>
          <a:endParaRPr lang="de-DE"/>
        </a:p>
      </dgm:t>
    </dgm:pt>
    <dgm:pt modelId="{A03458F9-379C-4002-A831-A1983BC92E9E}" type="sibTrans" cxnId="{9A9EE405-83B6-4577-9652-A6E28BF384B1}">
      <dgm:prSet/>
      <dgm:spPr/>
      <dgm:t>
        <a:bodyPr/>
        <a:lstStyle/>
        <a:p>
          <a:endParaRPr lang="de-DE"/>
        </a:p>
      </dgm:t>
    </dgm:pt>
    <dgm:pt modelId="{D72453B6-1B40-48C3-A2D3-C6000198E162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5A42597E-7C44-431A-9CA8-9E2FBD09D033}" type="parTrans" cxnId="{0242CF17-BEF4-43BE-A3B9-476515D8C5E7}">
      <dgm:prSet/>
      <dgm:spPr/>
      <dgm:t>
        <a:bodyPr/>
        <a:lstStyle/>
        <a:p>
          <a:endParaRPr lang="de-DE"/>
        </a:p>
      </dgm:t>
    </dgm:pt>
    <dgm:pt modelId="{DE5C86DB-C89D-4D69-BB38-40858F2862A3}" type="sibTrans" cxnId="{0242CF17-BEF4-43BE-A3B9-476515D8C5E7}">
      <dgm:prSet/>
      <dgm:spPr/>
      <dgm:t>
        <a:bodyPr/>
        <a:lstStyle/>
        <a:p>
          <a:endParaRPr lang="de-DE"/>
        </a:p>
      </dgm:t>
    </dgm:pt>
    <dgm:pt modelId="{63A93EE4-34D3-4D82-836B-6E5AA8FED95F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73B85369-6C0F-401B-95E3-5EE852952C3D}" type="parTrans" cxnId="{846A7EC6-D7C9-4DFF-AB9B-C7AAD4F42447}">
      <dgm:prSet/>
      <dgm:spPr/>
      <dgm:t>
        <a:bodyPr/>
        <a:lstStyle/>
        <a:p>
          <a:endParaRPr lang="de-DE"/>
        </a:p>
      </dgm:t>
    </dgm:pt>
    <dgm:pt modelId="{22A2FA2D-D7F8-4B4E-BAB3-65308F93F773}" type="sibTrans" cxnId="{846A7EC6-D7C9-4DFF-AB9B-C7AAD4F42447}">
      <dgm:prSet/>
      <dgm:spPr/>
      <dgm:t>
        <a:bodyPr/>
        <a:lstStyle/>
        <a:p>
          <a:endParaRPr lang="de-DE"/>
        </a:p>
      </dgm:t>
    </dgm:pt>
    <dgm:pt modelId="{809044A5-1B37-4FA2-9465-C6F903AED917}">
      <dgm:prSet phldrT="[Text]"/>
      <dgm:spPr/>
      <dgm:t>
        <a:bodyPr/>
        <a:lstStyle/>
        <a:p>
          <a:r>
            <a:rPr lang="de-DE" dirty="0" err="1"/>
            <a:t>Component</a:t>
          </a:r>
          <a:r>
            <a:rPr lang="de-DE" dirty="0"/>
            <a:t> 1</a:t>
          </a:r>
        </a:p>
      </dgm:t>
    </dgm:pt>
    <dgm:pt modelId="{36567181-7F90-4B9E-BE6F-7B941203BDDE}" type="parTrans" cxnId="{FE46F36A-5063-404E-AAD3-64F8E1916A87}">
      <dgm:prSet/>
      <dgm:spPr/>
      <dgm:t>
        <a:bodyPr/>
        <a:lstStyle/>
        <a:p>
          <a:endParaRPr lang="de-DE"/>
        </a:p>
      </dgm:t>
    </dgm:pt>
    <dgm:pt modelId="{467AC079-2EAB-4114-9CB6-0671052137A4}" type="sibTrans" cxnId="{FE46F36A-5063-404E-AAD3-64F8E1916A87}">
      <dgm:prSet/>
      <dgm:spPr/>
      <dgm:t>
        <a:bodyPr/>
        <a:lstStyle/>
        <a:p>
          <a:endParaRPr lang="de-DE"/>
        </a:p>
      </dgm:t>
    </dgm:pt>
    <dgm:pt modelId="{F9E1A341-00B1-48B5-8E7E-21C4DA617546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4E3A8912-5672-4AFC-99D2-1CD4BC3C55B7}" type="parTrans" cxnId="{7A9C1889-D9B5-4C8C-BDDC-B10A3B83637C}">
      <dgm:prSet/>
      <dgm:spPr/>
      <dgm:t>
        <a:bodyPr/>
        <a:lstStyle/>
        <a:p>
          <a:endParaRPr lang="de-DE"/>
        </a:p>
      </dgm:t>
    </dgm:pt>
    <dgm:pt modelId="{7A44802E-31E9-402E-8634-D4B1AE85C9EF}" type="sibTrans" cxnId="{7A9C1889-D9B5-4C8C-BDDC-B10A3B83637C}">
      <dgm:prSet/>
      <dgm:spPr/>
      <dgm:t>
        <a:bodyPr/>
        <a:lstStyle/>
        <a:p>
          <a:endParaRPr lang="de-DE"/>
        </a:p>
      </dgm:t>
    </dgm:pt>
    <dgm:pt modelId="{AD4CA1C2-AA35-4EA0-813C-8A9E26596336}">
      <dgm:prSet phldrT="[Text]"/>
      <dgm:spPr/>
      <dgm:t>
        <a:bodyPr/>
        <a:lstStyle/>
        <a:p>
          <a:r>
            <a:rPr lang="de-DE" dirty="0"/>
            <a:t>Tag 1</a:t>
          </a:r>
        </a:p>
      </dgm:t>
    </dgm:pt>
    <dgm:pt modelId="{915143CF-6875-4889-A996-41FB2FBF8B05}" type="parTrans" cxnId="{88BEE1E8-E3BA-4F0D-8735-75D83A14F4D1}">
      <dgm:prSet/>
      <dgm:spPr/>
      <dgm:t>
        <a:bodyPr/>
        <a:lstStyle/>
        <a:p>
          <a:endParaRPr lang="de-DE"/>
        </a:p>
      </dgm:t>
    </dgm:pt>
    <dgm:pt modelId="{3181D4D4-169B-4705-B0BA-59C2DC6019F3}" type="sibTrans" cxnId="{88BEE1E8-E3BA-4F0D-8735-75D83A14F4D1}">
      <dgm:prSet/>
      <dgm:spPr/>
      <dgm:t>
        <a:bodyPr/>
        <a:lstStyle/>
        <a:p>
          <a:endParaRPr lang="de-DE"/>
        </a:p>
      </dgm:t>
    </dgm:pt>
    <dgm:pt modelId="{8CE0378C-5BFC-4F18-901E-A6F28F08A7B7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89D72D49-719C-4938-BA25-54D992A69F2F}" type="parTrans" cxnId="{519C8711-FBD3-4DDF-9620-A6130D7D762C}">
      <dgm:prSet/>
      <dgm:spPr/>
      <dgm:t>
        <a:bodyPr/>
        <a:lstStyle/>
        <a:p>
          <a:endParaRPr lang="de-DE"/>
        </a:p>
      </dgm:t>
    </dgm:pt>
    <dgm:pt modelId="{42C32296-D23C-4F1C-87B5-C620AA7D4B46}" type="sibTrans" cxnId="{519C8711-FBD3-4DDF-9620-A6130D7D762C}">
      <dgm:prSet/>
      <dgm:spPr/>
      <dgm:t>
        <a:bodyPr/>
        <a:lstStyle/>
        <a:p>
          <a:endParaRPr lang="de-DE"/>
        </a:p>
      </dgm:t>
    </dgm:pt>
    <dgm:pt modelId="{2A4A8B3B-C540-409D-AD83-DE0DB893B79E}">
      <dgm:prSet phldrT="[Text]"/>
      <dgm:spPr/>
      <dgm:t>
        <a:bodyPr/>
        <a:lstStyle/>
        <a:p>
          <a:r>
            <a:rPr lang="de-DE" dirty="0"/>
            <a:t>Tag 2</a:t>
          </a:r>
        </a:p>
      </dgm:t>
    </dgm:pt>
    <dgm:pt modelId="{F926763A-9361-4F50-A257-16C2B4C2A5EF}" type="parTrans" cxnId="{3FF72706-099D-4FAB-BD00-149F95A045B9}">
      <dgm:prSet/>
      <dgm:spPr/>
      <dgm:t>
        <a:bodyPr/>
        <a:lstStyle/>
        <a:p>
          <a:endParaRPr lang="de-DE"/>
        </a:p>
      </dgm:t>
    </dgm:pt>
    <dgm:pt modelId="{818B9B9E-5F40-40BC-AC48-87E54A599DC5}" type="sibTrans" cxnId="{3FF72706-099D-4FAB-BD00-149F95A045B9}">
      <dgm:prSet/>
      <dgm:spPr/>
      <dgm:t>
        <a:bodyPr/>
        <a:lstStyle/>
        <a:p>
          <a:endParaRPr lang="de-DE"/>
        </a:p>
      </dgm:t>
    </dgm:pt>
    <dgm:pt modelId="{C7EB33C6-BEA9-44B0-BDA6-EF89125DE973}">
      <dgm:prSet phldrT="[Text]"/>
      <dgm:spPr/>
      <dgm:t>
        <a:bodyPr/>
        <a:lstStyle/>
        <a:p>
          <a:r>
            <a:rPr lang="de-DE" dirty="0"/>
            <a:t>Tag 1</a:t>
          </a:r>
        </a:p>
      </dgm:t>
    </dgm:pt>
    <dgm:pt modelId="{A152A006-C515-42AF-A180-2BE14619D4C9}" type="parTrans" cxnId="{396F3F2C-5520-48E1-A827-2906C95AAB24}">
      <dgm:prSet/>
      <dgm:spPr/>
      <dgm:t>
        <a:bodyPr/>
        <a:lstStyle/>
        <a:p>
          <a:endParaRPr lang="de-DE"/>
        </a:p>
      </dgm:t>
    </dgm:pt>
    <dgm:pt modelId="{90AF9C36-4E05-4796-A600-C8913A864CBC}" type="sibTrans" cxnId="{396F3F2C-5520-48E1-A827-2906C95AAB24}">
      <dgm:prSet/>
      <dgm:spPr/>
      <dgm:t>
        <a:bodyPr/>
        <a:lstStyle/>
        <a:p>
          <a:endParaRPr lang="de-DE"/>
        </a:p>
      </dgm:t>
    </dgm:pt>
    <dgm:pt modelId="{FAE69FEC-A0B0-4AE1-8D29-CE14C8C95B02}">
      <dgm:prSet phldrT="[Text]"/>
      <dgm:spPr/>
      <dgm:t>
        <a:bodyPr/>
        <a:lstStyle/>
        <a:p>
          <a:r>
            <a:rPr lang="de-DE" dirty="0"/>
            <a:t>Reference</a:t>
          </a:r>
        </a:p>
      </dgm:t>
    </dgm:pt>
    <dgm:pt modelId="{00974F69-3416-4DB5-A607-6CD3F946F929}" type="parTrans" cxnId="{3E35D038-3E10-4E22-B30F-5F8ED5173454}">
      <dgm:prSet/>
      <dgm:spPr/>
      <dgm:t>
        <a:bodyPr/>
        <a:lstStyle/>
        <a:p>
          <a:endParaRPr lang="de-DE"/>
        </a:p>
      </dgm:t>
    </dgm:pt>
    <dgm:pt modelId="{BD57E40B-9433-490C-B5C5-AEA267A9A8DE}" type="sibTrans" cxnId="{3E35D038-3E10-4E22-B30F-5F8ED5173454}">
      <dgm:prSet/>
      <dgm:spPr/>
      <dgm:t>
        <a:bodyPr/>
        <a:lstStyle/>
        <a:p>
          <a:endParaRPr lang="de-DE"/>
        </a:p>
      </dgm:t>
    </dgm:pt>
    <dgm:pt modelId="{FFC73A0B-5188-4A04-BECC-44B45B4F0A43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DB33CE90-B6FD-4EBB-915A-C57DF9AE7215}" type="parTrans" cxnId="{6733DDA9-F4AA-4735-B21E-F2EE57DEEE56}">
      <dgm:prSet/>
      <dgm:spPr/>
      <dgm:t>
        <a:bodyPr/>
        <a:lstStyle/>
        <a:p>
          <a:endParaRPr lang="de-DE"/>
        </a:p>
      </dgm:t>
    </dgm:pt>
    <dgm:pt modelId="{69522777-3890-4EA0-8216-6F3E6FED2B82}" type="sibTrans" cxnId="{6733DDA9-F4AA-4735-B21E-F2EE57DEEE56}">
      <dgm:prSet/>
      <dgm:spPr/>
      <dgm:t>
        <a:bodyPr/>
        <a:lstStyle/>
        <a:p>
          <a:endParaRPr lang="de-DE"/>
        </a:p>
      </dgm:t>
    </dgm:pt>
    <dgm:pt modelId="{A8B4AD74-FEB7-45B5-96F1-0CA215FDF16E}" type="pres">
      <dgm:prSet presAssocID="{CE02CFE8-CA39-402B-B426-A91228F54F1C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F0B8296A-156B-4811-97A0-509CFF47D6DC}" type="pres">
      <dgm:prSet presAssocID="{CE02CFE8-CA39-402B-B426-A91228F54F1C}" presName="hierFlow" presStyleCnt="0"/>
      <dgm:spPr/>
    </dgm:pt>
    <dgm:pt modelId="{B0CCB1CE-D09D-43FD-A4AE-A5DA251DCC28}" type="pres">
      <dgm:prSet presAssocID="{CE02CFE8-CA39-402B-B426-A91228F54F1C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0FB0190-DD80-4FD5-9DAA-1CA066D2025A}" type="pres">
      <dgm:prSet presAssocID="{56483AF1-C635-4A4B-A2C5-D80E534BADC5}" presName="Name14" presStyleCnt="0"/>
      <dgm:spPr/>
    </dgm:pt>
    <dgm:pt modelId="{A0D6BC04-172F-4C40-8C56-B34AE3F795C5}" type="pres">
      <dgm:prSet presAssocID="{56483AF1-C635-4A4B-A2C5-D80E534BADC5}" presName="level1Shape" presStyleLbl="node0" presStyleIdx="0" presStyleCnt="1">
        <dgm:presLayoutVars>
          <dgm:chPref val="3"/>
        </dgm:presLayoutVars>
      </dgm:prSet>
      <dgm:spPr/>
    </dgm:pt>
    <dgm:pt modelId="{3D4FD5A5-2371-4777-80F4-C5EAC4C7D98C}" type="pres">
      <dgm:prSet presAssocID="{56483AF1-C635-4A4B-A2C5-D80E534BADC5}" presName="hierChild2" presStyleCnt="0"/>
      <dgm:spPr/>
    </dgm:pt>
    <dgm:pt modelId="{53DA0C7F-A410-4F3A-A551-31BB8CEAAF35}" type="pres">
      <dgm:prSet presAssocID="{5A42597E-7C44-431A-9CA8-9E2FBD09D033}" presName="Name19" presStyleLbl="parChTrans1D2" presStyleIdx="0" presStyleCnt="2"/>
      <dgm:spPr/>
    </dgm:pt>
    <dgm:pt modelId="{B2ED7BAE-2987-4978-BF1C-7D3EF95880C8}" type="pres">
      <dgm:prSet presAssocID="{D72453B6-1B40-48C3-A2D3-C6000198E162}" presName="Name21" presStyleCnt="0"/>
      <dgm:spPr/>
    </dgm:pt>
    <dgm:pt modelId="{A8EDB877-DFB8-4595-8FB6-9818237BFD04}" type="pres">
      <dgm:prSet presAssocID="{D72453B6-1B40-48C3-A2D3-C6000198E162}" presName="level2Shape" presStyleLbl="node2" presStyleIdx="0" presStyleCnt="2"/>
      <dgm:spPr/>
    </dgm:pt>
    <dgm:pt modelId="{CADF14EF-3DC5-4B01-A196-115E3728D79A}" type="pres">
      <dgm:prSet presAssocID="{D72453B6-1B40-48C3-A2D3-C6000198E162}" presName="hierChild3" presStyleCnt="0"/>
      <dgm:spPr/>
    </dgm:pt>
    <dgm:pt modelId="{3A24F69E-B741-44C0-8D91-D2BC5A280F65}" type="pres">
      <dgm:prSet presAssocID="{73B85369-6C0F-401B-95E3-5EE852952C3D}" presName="Name19" presStyleLbl="parChTrans1D2" presStyleIdx="1" presStyleCnt="2"/>
      <dgm:spPr/>
    </dgm:pt>
    <dgm:pt modelId="{5156CD1D-5573-41CF-A1FF-817895C253C0}" type="pres">
      <dgm:prSet presAssocID="{63A93EE4-34D3-4D82-836B-6E5AA8FED95F}" presName="Name21" presStyleCnt="0"/>
      <dgm:spPr/>
    </dgm:pt>
    <dgm:pt modelId="{3DBEA836-034E-494E-9781-ADC9FC927960}" type="pres">
      <dgm:prSet presAssocID="{63A93EE4-34D3-4D82-836B-6E5AA8FED95F}" presName="level2Shape" presStyleLbl="node2" presStyleIdx="1" presStyleCnt="2"/>
      <dgm:spPr/>
    </dgm:pt>
    <dgm:pt modelId="{5E40462C-5609-4DDD-95F9-378D4B49C629}" type="pres">
      <dgm:prSet presAssocID="{63A93EE4-34D3-4D82-836B-6E5AA8FED95F}" presName="hierChild3" presStyleCnt="0"/>
      <dgm:spPr/>
    </dgm:pt>
    <dgm:pt modelId="{77247B8C-193F-484A-9C50-F6144B69E6D6}" type="pres">
      <dgm:prSet presAssocID="{A152A006-C515-42AF-A180-2BE14619D4C9}" presName="Name19" presStyleLbl="parChTrans1D3" presStyleIdx="0" presStyleCnt="2"/>
      <dgm:spPr/>
    </dgm:pt>
    <dgm:pt modelId="{94FAD579-B7B4-41A7-9B38-CA8C103A7DC4}" type="pres">
      <dgm:prSet presAssocID="{C7EB33C6-BEA9-44B0-BDA6-EF89125DE973}" presName="Name21" presStyleCnt="0"/>
      <dgm:spPr/>
    </dgm:pt>
    <dgm:pt modelId="{49D5B6DC-A7E8-4CF0-A361-8EB48FF52EE5}" type="pres">
      <dgm:prSet presAssocID="{C7EB33C6-BEA9-44B0-BDA6-EF89125DE973}" presName="level2Shape" presStyleLbl="node3" presStyleIdx="0" presStyleCnt="2"/>
      <dgm:spPr/>
    </dgm:pt>
    <dgm:pt modelId="{92ECBF28-129B-41C2-A74E-BFD3FBD1F976}" type="pres">
      <dgm:prSet presAssocID="{C7EB33C6-BEA9-44B0-BDA6-EF89125DE973}" presName="hierChild3" presStyleCnt="0"/>
      <dgm:spPr/>
    </dgm:pt>
    <dgm:pt modelId="{8BE9DD71-CFF1-44DC-9DA7-B0907FE20530}" type="pres">
      <dgm:prSet presAssocID="{00974F69-3416-4DB5-A607-6CD3F946F929}" presName="Name19" presStyleLbl="parChTrans1D4" presStyleIdx="0" presStyleCnt="6"/>
      <dgm:spPr/>
    </dgm:pt>
    <dgm:pt modelId="{757B9D6C-3D94-4ABD-AFE7-1FF1A9DB2773}" type="pres">
      <dgm:prSet presAssocID="{FAE69FEC-A0B0-4AE1-8D29-CE14C8C95B02}" presName="Name21" presStyleCnt="0"/>
      <dgm:spPr/>
    </dgm:pt>
    <dgm:pt modelId="{301333E1-22FF-4D9A-B494-BD3BDE501598}" type="pres">
      <dgm:prSet presAssocID="{FAE69FEC-A0B0-4AE1-8D29-CE14C8C95B02}" presName="level2Shape" presStyleLbl="node4" presStyleIdx="0" presStyleCnt="6"/>
      <dgm:spPr/>
    </dgm:pt>
    <dgm:pt modelId="{68E17586-C6C3-404C-9821-83D352119957}" type="pres">
      <dgm:prSet presAssocID="{FAE69FEC-A0B0-4AE1-8D29-CE14C8C95B02}" presName="hierChild3" presStyleCnt="0"/>
      <dgm:spPr/>
    </dgm:pt>
    <dgm:pt modelId="{4D1DCB21-D674-4BC0-9B75-E7E0FAFD2ED2}" type="pres">
      <dgm:prSet presAssocID="{DB33CE90-B6FD-4EBB-915A-C57DF9AE7215}" presName="Name19" presStyleLbl="parChTrans1D4" presStyleIdx="1" presStyleCnt="6"/>
      <dgm:spPr/>
    </dgm:pt>
    <dgm:pt modelId="{3594C6DB-AAE0-429E-83B5-C432C01C207D}" type="pres">
      <dgm:prSet presAssocID="{FFC73A0B-5188-4A04-BECC-44B45B4F0A43}" presName="Name21" presStyleCnt="0"/>
      <dgm:spPr/>
    </dgm:pt>
    <dgm:pt modelId="{14CE2F77-49F4-4DE3-8D51-CDAF84551E61}" type="pres">
      <dgm:prSet presAssocID="{FFC73A0B-5188-4A04-BECC-44B45B4F0A43}" presName="level2Shape" presStyleLbl="node4" presStyleIdx="1" presStyleCnt="6"/>
      <dgm:spPr/>
    </dgm:pt>
    <dgm:pt modelId="{2AE8C1BF-3E3D-431F-BA9D-ECAD984869D5}" type="pres">
      <dgm:prSet presAssocID="{FFC73A0B-5188-4A04-BECC-44B45B4F0A43}" presName="hierChild3" presStyleCnt="0"/>
      <dgm:spPr/>
    </dgm:pt>
    <dgm:pt modelId="{218FDDD4-1E68-4754-86AD-5CFD7F43C0C6}" type="pres">
      <dgm:prSet presAssocID="{36567181-7F90-4B9E-BE6F-7B941203BDDE}" presName="Name19" presStyleLbl="parChTrans1D3" presStyleIdx="1" presStyleCnt="2"/>
      <dgm:spPr/>
    </dgm:pt>
    <dgm:pt modelId="{18F9F06E-EE19-4721-8435-9E7C14A4F492}" type="pres">
      <dgm:prSet presAssocID="{809044A5-1B37-4FA2-9465-C6F903AED917}" presName="Name21" presStyleCnt="0"/>
      <dgm:spPr/>
    </dgm:pt>
    <dgm:pt modelId="{4311A214-8010-41A8-A2AC-1F575E448A95}" type="pres">
      <dgm:prSet presAssocID="{809044A5-1B37-4FA2-9465-C6F903AED917}" presName="level2Shape" presStyleLbl="node3" presStyleIdx="1" presStyleCnt="2"/>
      <dgm:spPr/>
    </dgm:pt>
    <dgm:pt modelId="{1ED6B6AF-7577-4C84-8D29-807AA7844ACA}" type="pres">
      <dgm:prSet presAssocID="{809044A5-1B37-4FA2-9465-C6F903AED917}" presName="hierChild3" presStyleCnt="0"/>
      <dgm:spPr/>
    </dgm:pt>
    <dgm:pt modelId="{FEC44A9A-21C9-4606-8051-78C812299206}" type="pres">
      <dgm:prSet presAssocID="{89D72D49-719C-4938-BA25-54D992A69F2F}" presName="Name19" presStyleLbl="parChTrans1D4" presStyleIdx="2" presStyleCnt="6"/>
      <dgm:spPr/>
    </dgm:pt>
    <dgm:pt modelId="{11BB9D16-A8B3-43E8-92CB-2C526AFA5114}" type="pres">
      <dgm:prSet presAssocID="{8CE0378C-5BFC-4F18-901E-A6F28F08A7B7}" presName="Name21" presStyleCnt="0"/>
      <dgm:spPr/>
    </dgm:pt>
    <dgm:pt modelId="{1550904D-9E76-4B81-B1F5-A9E14E2B453C}" type="pres">
      <dgm:prSet presAssocID="{8CE0378C-5BFC-4F18-901E-A6F28F08A7B7}" presName="level2Shape" presStyleLbl="node4" presStyleIdx="2" presStyleCnt="6"/>
      <dgm:spPr/>
    </dgm:pt>
    <dgm:pt modelId="{46871212-9B8D-4FBB-80FA-8AC0F5B45061}" type="pres">
      <dgm:prSet presAssocID="{8CE0378C-5BFC-4F18-901E-A6F28F08A7B7}" presName="hierChild3" presStyleCnt="0"/>
      <dgm:spPr/>
    </dgm:pt>
    <dgm:pt modelId="{6F91ACC4-26DE-449A-AFEC-5682DA880D48}" type="pres">
      <dgm:prSet presAssocID="{4E3A8912-5672-4AFC-99D2-1CD4BC3C55B7}" presName="Name19" presStyleLbl="parChTrans1D4" presStyleIdx="3" presStyleCnt="6"/>
      <dgm:spPr/>
    </dgm:pt>
    <dgm:pt modelId="{47ACA756-3EFE-4BEC-81BD-5FA7FD4661A6}" type="pres">
      <dgm:prSet presAssocID="{F9E1A341-00B1-48B5-8E7E-21C4DA617546}" presName="Name21" presStyleCnt="0"/>
      <dgm:spPr/>
    </dgm:pt>
    <dgm:pt modelId="{144127C2-2487-4A15-8713-339DCE036467}" type="pres">
      <dgm:prSet presAssocID="{F9E1A341-00B1-48B5-8E7E-21C4DA617546}" presName="level2Shape" presStyleLbl="node4" presStyleIdx="3" presStyleCnt="6"/>
      <dgm:spPr/>
    </dgm:pt>
    <dgm:pt modelId="{1E5A2432-A484-4C8A-A977-0A6A72162246}" type="pres">
      <dgm:prSet presAssocID="{F9E1A341-00B1-48B5-8E7E-21C4DA617546}" presName="hierChild3" presStyleCnt="0"/>
      <dgm:spPr/>
    </dgm:pt>
    <dgm:pt modelId="{563A516D-AEF8-4506-9C6E-50A5505BE890}" type="pres">
      <dgm:prSet presAssocID="{915143CF-6875-4889-A996-41FB2FBF8B05}" presName="Name19" presStyleLbl="parChTrans1D4" presStyleIdx="4" presStyleCnt="6"/>
      <dgm:spPr/>
    </dgm:pt>
    <dgm:pt modelId="{B441A33B-3FF3-48D7-8E18-CD0FBDB46AE5}" type="pres">
      <dgm:prSet presAssocID="{AD4CA1C2-AA35-4EA0-813C-8A9E26596336}" presName="Name21" presStyleCnt="0"/>
      <dgm:spPr/>
    </dgm:pt>
    <dgm:pt modelId="{ABD5F001-92E7-4072-85AC-07E59887CB15}" type="pres">
      <dgm:prSet presAssocID="{AD4CA1C2-AA35-4EA0-813C-8A9E26596336}" presName="level2Shape" presStyleLbl="node4" presStyleIdx="4" presStyleCnt="6"/>
      <dgm:spPr/>
    </dgm:pt>
    <dgm:pt modelId="{CD349B4C-DB9F-44C5-A18B-81FAD0C27737}" type="pres">
      <dgm:prSet presAssocID="{AD4CA1C2-AA35-4EA0-813C-8A9E26596336}" presName="hierChild3" presStyleCnt="0"/>
      <dgm:spPr/>
    </dgm:pt>
    <dgm:pt modelId="{2B52B1C9-E455-4241-9CB1-5CD51BB25F65}" type="pres">
      <dgm:prSet presAssocID="{F926763A-9361-4F50-A257-16C2B4C2A5EF}" presName="Name19" presStyleLbl="parChTrans1D4" presStyleIdx="5" presStyleCnt="6"/>
      <dgm:spPr/>
    </dgm:pt>
    <dgm:pt modelId="{C55250D8-FA36-4455-B54B-8125B9E92C49}" type="pres">
      <dgm:prSet presAssocID="{2A4A8B3B-C540-409D-AD83-DE0DB893B79E}" presName="Name21" presStyleCnt="0"/>
      <dgm:spPr/>
    </dgm:pt>
    <dgm:pt modelId="{F760E44B-F2B7-42C8-892D-C15058943036}" type="pres">
      <dgm:prSet presAssocID="{2A4A8B3B-C540-409D-AD83-DE0DB893B79E}" presName="level2Shape" presStyleLbl="node4" presStyleIdx="5" presStyleCnt="6"/>
      <dgm:spPr/>
    </dgm:pt>
    <dgm:pt modelId="{667BB839-46EB-4EDF-9B3B-367CF472CEE4}" type="pres">
      <dgm:prSet presAssocID="{2A4A8B3B-C540-409D-AD83-DE0DB893B79E}" presName="hierChild3" presStyleCnt="0"/>
      <dgm:spPr/>
    </dgm:pt>
    <dgm:pt modelId="{331E603D-A4E6-40D6-895A-AB2290E3C60C}" type="pres">
      <dgm:prSet presAssocID="{CE02CFE8-CA39-402B-B426-A91228F54F1C}" presName="bgShapesFlow" presStyleCnt="0"/>
      <dgm:spPr/>
    </dgm:pt>
  </dgm:ptLst>
  <dgm:cxnLst>
    <dgm:cxn modelId="{9A9EE405-83B6-4577-9652-A6E28BF384B1}" srcId="{CE02CFE8-CA39-402B-B426-A91228F54F1C}" destId="{56483AF1-C635-4A4B-A2C5-D80E534BADC5}" srcOrd="0" destOrd="0" parTransId="{C3019227-1575-4642-94D6-DE3C9AA0990C}" sibTransId="{A03458F9-379C-4002-A831-A1983BC92E9E}"/>
    <dgm:cxn modelId="{3FF72706-099D-4FAB-BD00-149F95A045B9}" srcId="{F9E1A341-00B1-48B5-8E7E-21C4DA617546}" destId="{2A4A8B3B-C540-409D-AD83-DE0DB893B79E}" srcOrd="1" destOrd="0" parTransId="{F926763A-9361-4F50-A257-16C2B4C2A5EF}" sibTransId="{818B9B9E-5F40-40BC-AC48-87E54A599DC5}"/>
    <dgm:cxn modelId="{6A3D1A0D-9FBE-4DB6-9166-4C67F4C6E5C3}" type="presOf" srcId="{A152A006-C515-42AF-A180-2BE14619D4C9}" destId="{77247B8C-193F-484A-9C50-F6144B69E6D6}" srcOrd="0" destOrd="0" presId="urn:microsoft.com/office/officeart/2005/8/layout/hierarchy6"/>
    <dgm:cxn modelId="{827BF80F-2003-455A-86B4-EA7953A4E169}" type="presOf" srcId="{2A4A8B3B-C540-409D-AD83-DE0DB893B79E}" destId="{F760E44B-F2B7-42C8-892D-C15058943036}" srcOrd="0" destOrd="0" presId="urn:microsoft.com/office/officeart/2005/8/layout/hierarchy6"/>
    <dgm:cxn modelId="{519C8711-FBD3-4DDF-9620-A6130D7D762C}" srcId="{809044A5-1B37-4FA2-9465-C6F903AED917}" destId="{8CE0378C-5BFC-4F18-901E-A6F28F08A7B7}" srcOrd="0" destOrd="0" parTransId="{89D72D49-719C-4938-BA25-54D992A69F2F}" sibTransId="{42C32296-D23C-4F1C-87B5-C620AA7D4B46}"/>
    <dgm:cxn modelId="{61D75815-9175-437F-A676-3CBDA5B7B98C}" type="presOf" srcId="{8CE0378C-5BFC-4F18-901E-A6F28F08A7B7}" destId="{1550904D-9E76-4B81-B1F5-A9E14E2B453C}" srcOrd="0" destOrd="0" presId="urn:microsoft.com/office/officeart/2005/8/layout/hierarchy6"/>
    <dgm:cxn modelId="{0242CF17-BEF4-43BE-A3B9-476515D8C5E7}" srcId="{56483AF1-C635-4A4B-A2C5-D80E534BADC5}" destId="{D72453B6-1B40-48C3-A2D3-C6000198E162}" srcOrd="0" destOrd="0" parTransId="{5A42597E-7C44-431A-9CA8-9E2FBD09D033}" sibTransId="{DE5C86DB-C89D-4D69-BB38-40858F2862A3}"/>
    <dgm:cxn modelId="{94016C19-3ADF-41F0-AEC6-898E3DD03668}" type="presOf" srcId="{5A42597E-7C44-431A-9CA8-9E2FBD09D033}" destId="{53DA0C7F-A410-4F3A-A551-31BB8CEAAF35}" srcOrd="0" destOrd="0" presId="urn:microsoft.com/office/officeart/2005/8/layout/hierarchy6"/>
    <dgm:cxn modelId="{52447823-C4A3-4257-9A10-3ABA799AA497}" type="presOf" srcId="{C7EB33C6-BEA9-44B0-BDA6-EF89125DE973}" destId="{49D5B6DC-A7E8-4CF0-A361-8EB48FF52EE5}" srcOrd="0" destOrd="0" presId="urn:microsoft.com/office/officeart/2005/8/layout/hierarchy6"/>
    <dgm:cxn modelId="{396F3F2C-5520-48E1-A827-2906C95AAB24}" srcId="{63A93EE4-34D3-4D82-836B-6E5AA8FED95F}" destId="{C7EB33C6-BEA9-44B0-BDA6-EF89125DE973}" srcOrd="0" destOrd="0" parTransId="{A152A006-C515-42AF-A180-2BE14619D4C9}" sibTransId="{90AF9C36-4E05-4796-A600-C8913A864CBC}"/>
    <dgm:cxn modelId="{747AA331-A5C7-4784-B5BB-621004CC9FF5}" type="presOf" srcId="{CE02CFE8-CA39-402B-B426-A91228F54F1C}" destId="{A8B4AD74-FEB7-45B5-96F1-0CA215FDF16E}" srcOrd="0" destOrd="0" presId="urn:microsoft.com/office/officeart/2005/8/layout/hierarchy6"/>
    <dgm:cxn modelId="{EDC40835-BCE0-4FC5-B428-5022FCD38255}" type="presOf" srcId="{36567181-7F90-4B9E-BE6F-7B941203BDDE}" destId="{218FDDD4-1E68-4754-86AD-5CFD7F43C0C6}" srcOrd="0" destOrd="0" presId="urn:microsoft.com/office/officeart/2005/8/layout/hierarchy6"/>
    <dgm:cxn modelId="{19CFA636-F9CC-4324-AEF4-10D9D051CC1C}" type="presOf" srcId="{4E3A8912-5672-4AFC-99D2-1CD4BC3C55B7}" destId="{6F91ACC4-26DE-449A-AFEC-5682DA880D48}" srcOrd="0" destOrd="0" presId="urn:microsoft.com/office/officeart/2005/8/layout/hierarchy6"/>
    <dgm:cxn modelId="{20676A38-3702-460F-AE99-0C1306733D9B}" type="presOf" srcId="{FFC73A0B-5188-4A04-BECC-44B45B4F0A43}" destId="{14CE2F77-49F4-4DE3-8D51-CDAF84551E61}" srcOrd="0" destOrd="0" presId="urn:microsoft.com/office/officeart/2005/8/layout/hierarchy6"/>
    <dgm:cxn modelId="{3E35D038-3E10-4E22-B30F-5F8ED5173454}" srcId="{C7EB33C6-BEA9-44B0-BDA6-EF89125DE973}" destId="{FAE69FEC-A0B0-4AE1-8D29-CE14C8C95B02}" srcOrd="0" destOrd="0" parTransId="{00974F69-3416-4DB5-A607-6CD3F946F929}" sibTransId="{BD57E40B-9433-490C-B5C5-AEA267A9A8DE}"/>
    <dgm:cxn modelId="{61136741-EB10-4979-8568-BD0A566FFF06}" type="presOf" srcId="{89D72D49-719C-4938-BA25-54D992A69F2F}" destId="{FEC44A9A-21C9-4606-8051-78C812299206}" srcOrd="0" destOrd="0" presId="urn:microsoft.com/office/officeart/2005/8/layout/hierarchy6"/>
    <dgm:cxn modelId="{069C7066-D3A2-4F2B-9B61-9603ACEE1095}" type="presOf" srcId="{73B85369-6C0F-401B-95E3-5EE852952C3D}" destId="{3A24F69E-B741-44C0-8D91-D2BC5A280F65}" srcOrd="0" destOrd="0" presId="urn:microsoft.com/office/officeart/2005/8/layout/hierarchy6"/>
    <dgm:cxn modelId="{FE46F36A-5063-404E-AAD3-64F8E1916A87}" srcId="{63A93EE4-34D3-4D82-836B-6E5AA8FED95F}" destId="{809044A5-1B37-4FA2-9465-C6F903AED917}" srcOrd="1" destOrd="0" parTransId="{36567181-7F90-4B9E-BE6F-7B941203BDDE}" sibTransId="{467AC079-2EAB-4114-9CB6-0671052137A4}"/>
    <dgm:cxn modelId="{250D8C86-6EA5-40CF-8CD9-94D263E72E1F}" type="presOf" srcId="{915143CF-6875-4889-A996-41FB2FBF8B05}" destId="{563A516D-AEF8-4506-9C6E-50A5505BE890}" srcOrd="0" destOrd="0" presId="urn:microsoft.com/office/officeart/2005/8/layout/hierarchy6"/>
    <dgm:cxn modelId="{CE519C86-3274-4B56-8890-89EC6462E43C}" type="presOf" srcId="{D72453B6-1B40-48C3-A2D3-C6000198E162}" destId="{A8EDB877-DFB8-4595-8FB6-9818237BFD04}" srcOrd="0" destOrd="0" presId="urn:microsoft.com/office/officeart/2005/8/layout/hierarchy6"/>
    <dgm:cxn modelId="{DED7A487-104B-4721-B71F-69172EAAFAC1}" type="presOf" srcId="{63A93EE4-34D3-4D82-836B-6E5AA8FED95F}" destId="{3DBEA836-034E-494E-9781-ADC9FC927960}" srcOrd="0" destOrd="0" presId="urn:microsoft.com/office/officeart/2005/8/layout/hierarchy6"/>
    <dgm:cxn modelId="{7A9C1889-D9B5-4C8C-BDDC-B10A3B83637C}" srcId="{809044A5-1B37-4FA2-9465-C6F903AED917}" destId="{F9E1A341-00B1-48B5-8E7E-21C4DA617546}" srcOrd="1" destOrd="0" parTransId="{4E3A8912-5672-4AFC-99D2-1CD4BC3C55B7}" sibTransId="{7A44802E-31E9-402E-8634-D4B1AE85C9EF}"/>
    <dgm:cxn modelId="{95474D96-B937-41CD-B234-37584DAE41E2}" type="presOf" srcId="{FAE69FEC-A0B0-4AE1-8D29-CE14C8C95B02}" destId="{301333E1-22FF-4D9A-B494-BD3BDE501598}" srcOrd="0" destOrd="0" presId="urn:microsoft.com/office/officeart/2005/8/layout/hierarchy6"/>
    <dgm:cxn modelId="{943287A7-37BD-41F6-850C-50EEEBC2653B}" type="presOf" srcId="{DB33CE90-B6FD-4EBB-915A-C57DF9AE7215}" destId="{4D1DCB21-D674-4BC0-9B75-E7E0FAFD2ED2}" srcOrd="0" destOrd="0" presId="urn:microsoft.com/office/officeart/2005/8/layout/hierarchy6"/>
    <dgm:cxn modelId="{6733DDA9-F4AA-4735-B21E-F2EE57DEEE56}" srcId="{C7EB33C6-BEA9-44B0-BDA6-EF89125DE973}" destId="{FFC73A0B-5188-4A04-BECC-44B45B4F0A43}" srcOrd="1" destOrd="0" parTransId="{DB33CE90-B6FD-4EBB-915A-C57DF9AE7215}" sibTransId="{69522777-3890-4EA0-8216-6F3E6FED2B82}"/>
    <dgm:cxn modelId="{A0A8BEB1-99A7-4140-85E8-C7C8AEA97E81}" type="presOf" srcId="{AD4CA1C2-AA35-4EA0-813C-8A9E26596336}" destId="{ABD5F001-92E7-4072-85AC-07E59887CB15}" srcOrd="0" destOrd="0" presId="urn:microsoft.com/office/officeart/2005/8/layout/hierarchy6"/>
    <dgm:cxn modelId="{1666DCB1-9A0D-4F76-B719-2BAD88B5608C}" type="presOf" srcId="{F926763A-9361-4F50-A257-16C2B4C2A5EF}" destId="{2B52B1C9-E455-4241-9CB1-5CD51BB25F65}" srcOrd="0" destOrd="0" presId="urn:microsoft.com/office/officeart/2005/8/layout/hierarchy6"/>
    <dgm:cxn modelId="{256250B5-F29E-45B7-B4DE-A1C83F3F6909}" type="presOf" srcId="{56483AF1-C635-4A4B-A2C5-D80E534BADC5}" destId="{A0D6BC04-172F-4C40-8C56-B34AE3F795C5}" srcOrd="0" destOrd="0" presId="urn:microsoft.com/office/officeart/2005/8/layout/hierarchy6"/>
    <dgm:cxn modelId="{846A7EC6-D7C9-4DFF-AB9B-C7AAD4F42447}" srcId="{56483AF1-C635-4A4B-A2C5-D80E534BADC5}" destId="{63A93EE4-34D3-4D82-836B-6E5AA8FED95F}" srcOrd="1" destOrd="0" parTransId="{73B85369-6C0F-401B-95E3-5EE852952C3D}" sibTransId="{22A2FA2D-D7F8-4B4E-BAB3-65308F93F773}"/>
    <dgm:cxn modelId="{EB6885C8-2837-4397-8FE7-A82222AF5AA6}" type="presOf" srcId="{809044A5-1B37-4FA2-9465-C6F903AED917}" destId="{4311A214-8010-41A8-A2AC-1F575E448A95}" srcOrd="0" destOrd="0" presId="urn:microsoft.com/office/officeart/2005/8/layout/hierarchy6"/>
    <dgm:cxn modelId="{F1FB70E8-E805-460F-BE59-9103C868421F}" type="presOf" srcId="{00974F69-3416-4DB5-A607-6CD3F946F929}" destId="{8BE9DD71-CFF1-44DC-9DA7-B0907FE20530}" srcOrd="0" destOrd="0" presId="urn:microsoft.com/office/officeart/2005/8/layout/hierarchy6"/>
    <dgm:cxn modelId="{88BEE1E8-E3BA-4F0D-8735-75D83A14F4D1}" srcId="{F9E1A341-00B1-48B5-8E7E-21C4DA617546}" destId="{AD4CA1C2-AA35-4EA0-813C-8A9E26596336}" srcOrd="0" destOrd="0" parTransId="{915143CF-6875-4889-A996-41FB2FBF8B05}" sibTransId="{3181D4D4-169B-4705-B0BA-59C2DC6019F3}"/>
    <dgm:cxn modelId="{AAF2B7EF-36AC-48B7-81AF-6C6F74F35F3C}" type="presOf" srcId="{F9E1A341-00B1-48B5-8E7E-21C4DA617546}" destId="{144127C2-2487-4A15-8713-339DCE036467}" srcOrd="0" destOrd="0" presId="urn:microsoft.com/office/officeart/2005/8/layout/hierarchy6"/>
    <dgm:cxn modelId="{8E1A49FB-4F63-47CE-9BEE-31A35B644C06}" type="presParOf" srcId="{A8B4AD74-FEB7-45B5-96F1-0CA215FDF16E}" destId="{F0B8296A-156B-4811-97A0-509CFF47D6DC}" srcOrd="0" destOrd="0" presId="urn:microsoft.com/office/officeart/2005/8/layout/hierarchy6"/>
    <dgm:cxn modelId="{AA3F58BB-BBA7-44CA-9775-16397238260A}" type="presParOf" srcId="{F0B8296A-156B-4811-97A0-509CFF47D6DC}" destId="{B0CCB1CE-D09D-43FD-A4AE-A5DA251DCC28}" srcOrd="0" destOrd="0" presId="urn:microsoft.com/office/officeart/2005/8/layout/hierarchy6"/>
    <dgm:cxn modelId="{C2E10947-93E5-41AE-96C0-FB13B0059ACF}" type="presParOf" srcId="{B0CCB1CE-D09D-43FD-A4AE-A5DA251DCC28}" destId="{10FB0190-DD80-4FD5-9DAA-1CA066D2025A}" srcOrd="0" destOrd="0" presId="urn:microsoft.com/office/officeart/2005/8/layout/hierarchy6"/>
    <dgm:cxn modelId="{5A6B46F2-58F8-4B7C-9614-9168F027C462}" type="presParOf" srcId="{10FB0190-DD80-4FD5-9DAA-1CA066D2025A}" destId="{A0D6BC04-172F-4C40-8C56-B34AE3F795C5}" srcOrd="0" destOrd="0" presId="urn:microsoft.com/office/officeart/2005/8/layout/hierarchy6"/>
    <dgm:cxn modelId="{C8D43AAC-FEE3-4088-AF8F-D3A2815F458F}" type="presParOf" srcId="{10FB0190-DD80-4FD5-9DAA-1CA066D2025A}" destId="{3D4FD5A5-2371-4777-80F4-C5EAC4C7D98C}" srcOrd="1" destOrd="0" presId="urn:microsoft.com/office/officeart/2005/8/layout/hierarchy6"/>
    <dgm:cxn modelId="{B9DDA2C8-B3B0-4339-B88C-C9395A1E4CE4}" type="presParOf" srcId="{3D4FD5A5-2371-4777-80F4-C5EAC4C7D98C}" destId="{53DA0C7F-A410-4F3A-A551-31BB8CEAAF35}" srcOrd="0" destOrd="0" presId="urn:microsoft.com/office/officeart/2005/8/layout/hierarchy6"/>
    <dgm:cxn modelId="{39720903-2C2D-41BB-BE34-EF6A95A90F4E}" type="presParOf" srcId="{3D4FD5A5-2371-4777-80F4-C5EAC4C7D98C}" destId="{B2ED7BAE-2987-4978-BF1C-7D3EF95880C8}" srcOrd="1" destOrd="0" presId="urn:microsoft.com/office/officeart/2005/8/layout/hierarchy6"/>
    <dgm:cxn modelId="{CD8971D3-557F-4C54-ACEE-F0E71CC3285C}" type="presParOf" srcId="{B2ED7BAE-2987-4978-BF1C-7D3EF95880C8}" destId="{A8EDB877-DFB8-4595-8FB6-9818237BFD04}" srcOrd="0" destOrd="0" presId="urn:microsoft.com/office/officeart/2005/8/layout/hierarchy6"/>
    <dgm:cxn modelId="{8071401A-5881-435F-82AE-599C2D9A216D}" type="presParOf" srcId="{B2ED7BAE-2987-4978-BF1C-7D3EF95880C8}" destId="{CADF14EF-3DC5-4B01-A196-115E3728D79A}" srcOrd="1" destOrd="0" presId="urn:microsoft.com/office/officeart/2005/8/layout/hierarchy6"/>
    <dgm:cxn modelId="{E51716C5-6491-40C4-8E8C-852AF02D65A7}" type="presParOf" srcId="{3D4FD5A5-2371-4777-80F4-C5EAC4C7D98C}" destId="{3A24F69E-B741-44C0-8D91-D2BC5A280F65}" srcOrd="2" destOrd="0" presId="urn:microsoft.com/office/officeart/2005/8/layout/hierarchy6"/>
    <dgm:cxn modelId="{3578E907-3AD1-42D7-8A2E-11F1C161FCFD}" type="presParOf" srcId="{3D4FD5A5-2371-4777-80F4-C5EAC4C7D98C}" destId="{5156CD1D-5573-41CF-A1FF-817895C253C0}" srcOrd="3" destOrd="0" presId="urn:microsoft.com/office/officeart/2005/8/layout/hierarchy6"/>
    <dgm:cxn modelId="{FDB342C1-D326-48CE-A037-9FFFE0787179}" type="presParOf" srcId="{5156CD1D-5573-41CF-A1FF-817895C253C0}" destId="{3DBEA836-034E-494E-9781-ADC9FC927960}" srcOrd="0" destOrd="0" presId="urn:microsoft.com/office/officeart/2005/8/layout/hierarchy6"/>
    <dgm:cxn modelId="{77F6C7DF-EF7C-470D-BF10-81221EAF9816}" type="presParOf" srcId="{5156CD1D-5573-41CF-A1FF-817895C253C0}" destId="{5E40462C-5609-4DDD-95F9-378D4B49C629}" srcOrd="1" destOrd="0" presId="urn:microsoft.com/office/officeart/2005/8/layout/hierarchy6"/>
    <dgm:cxn modelId="{D67594C3-D464-4C18-A94E-0CEA9332A86B}" type="presParOf" srcId="{5E40462C-5609-4DDD-95F9-378D4B49C629}" destId="{77247B8C-193F-484A-9C50-F6144B69E6D6}" srcOrd="0" destOrd="0" presId="urn:microsoft.com/office/officeart/2005/8/layout/hierarchy6"/>
    <dgm:cxn modelId="{EAC41CDF-2531-4B0E-8CF5-A81FD5316901}" type="presParOf" srcId="{5E40462C-5609-4DDD-95F9-378D4B49C629}" destId="{94FAD579-B7B4-41A7-9B38-CA8C103A7DC4}" srcOrd="1" destOrd="0" presId="urn:microsoft.com/office/officeart/2005/8/layout/hierarchy6"/>
    <dgm:cxn modelId="{24627062-2F99-4740-A654-00783126B36F}" type="presParOf" srcId="{94FAD579-B7B4-41A7-9B38-CA8C103A7DC4}" destId="{49D5B6DC-A7E8-4CF0-A361-8EB48FF52EE5}" srcOrd="0" destOrd="0" presId="urn:microsoft.com/office/officeart/2005/8/layout/hierarchy6"/>
    <dgm:cxn modelId="{6FAA5FF6-1041-4247-820E-879515F2115D}" type="presParOf" srcId="{94FAD579-B7B4-41A7-9B38-CA8C103A7DC4}" destId="{92ECBF28-129B-41C2-A74E-BFD3FBD1F976}" srcOrd="1" destOrd="0" presId="urn:microsoft.com/office/officeart/2005/8/layout/hierarchy6"/>
    <dgm:cxn modelId="{83D92773-78EB-4F06-8539-C4BD52BF09D3}" type="presParOf" srcId="{92ECBF28-129B-41C2-A74E-BFD3FBD1F976}" destId="{8BE9DD71-CFF1-44DC-9DA7-B0907FE20530}" srcOrd="0" destOrd="0" presId="urn:microsoft.com/office/officeart/2005/8/layout/hierarchy6"/>
    <dgm:cxn modelId="{E9CC1806-8E73-470F-A92D-81DD791F80F2}" type="presParOf" srcId="{92ECBF28-129B-41C2-A74E-BFD3FBD1F976}" destId="{757B9D6C-3D94-4ABD-AFE7-1FF1A9DB2773}" srcOrd="1" destOrd="0" presId="urn:microsoft.com/office/officeart/2005/8/layout/hierarchy6"/>
    <dgm:cxn modelId="{69977573-927A-4278-AAE4-BB8CC559CAA9}" type="presParOf" srcId="{757B9D6C-3D94-4ABD-AFE7-1FF1A9DB2773}" destId="{301333E1-22FF-4D9A-B494-BD3BDE501598}" srcOrd="0" destOrd="0" presId="urn:microsoft.com/office/officeart/2005/8/layout/hierarchy6"/>
    <dgm:cxn modelId="{DC991474-AB43-4AD0-9D4A-3CDB63BA088F}" type="presParOf" srcId="{757B9D6C-3D94-4ABD-AFE7-1FF1A9DB2773}" destId="{68E17586-C6C3-404C-9821-83D352119957}" srcOrd="1" destOrd="0" presId="urn:microsoft.com/office/officeart/2005/8/layout/hierarchy6"/>
    <dgm:cxn modelId="{43F58E36-0DD1-4955-882A-314D66632FD9}" type="presParOf" srcId="{92ECBF28-129B-41C2-A74E-BFD3FBD1F976}" destId="{4D1DCB21-D674-4BC0-9B75-E7E0FAFD2ED2}" srcOrd="2" destOrd="0" presId="urn:microsoft.com/office/officeart/2005/8/layout/hierarchy6"/>
    <dgm:cxn modelId="{326F1E75-286B-403C-82AC-F68BC40791ED}" type="presParOf" srcId="{92ECBF28-129B-41C2-A74E-BFD3FBD1F976}" destId="{3594C6DB-AAE0-429E-83B5-C432C01C207D}" srcOrd="3" destOrd="0" presId="urn:microsoft.com/office/officeart/2005/8/layout/hierarchy6"/>
    <dgm:cxn modelId="{9DA07BB2-5293-4555-8E01-96B57E75FB31}" type="presParOf" srcId="{3594C6DB-AAE0-429E-83B5-C432C01C207D}" destId="{14CE2F77-49F4-4DE3-8D51-CDAF84551E61}" srcOrd="0" destOrd="0" presId="urn:microsoft.com/office/officeart/2005/8/layout/hierarchy6"/>
    <dgm:cxn modelId="{BF785B75-AFCF-4C5D-905A-94662329F871}" type="presParOf" srcId="{3594C6DB-AAE0-429E-83B5-C432C01C207D}" destId="{2AE8C1BF-3E3D-431F-BA9D-ECAD984869D5}" srcOrd="1" destOrd="0" presId="urn:microsoft.com/office/officeart/2005/8/layout/hierarchy6"/>
    <dgm:cxn modelId="{931F8F1A-139B-4F91-A457-731030B83CB7}" type="presParOf" srcId="{5E40462C-5609-4DDD-95F9-378D4B49C629}" destId="{218FDDD4-1E68-4754-86AD-5CFD7F43C0C6}" srcOrd="2" destOrd="0" presId="urn:microsoft.com/office/officeart/2005/8/layout/hierarchy6"/>
    <dgm:cxn modelId="{C560E141-73A2-4447-B567-5F8D2520396C}" type="presParOf" srcId="{5E40462C-5609-4DDD-95F9-378D4B49C629}" destId="{18F9F06E-EE19-4721-8435-9E7C14A4F492}" srcOrd="3" destOrd="0" presId="urn:microsoft.com/office/officeart/2005/8/layout/hierarchy6"/>
    <dgm:cxn modelId="{8149B1A5-12FF-4F2E-9BCE-731F6133AE7E}" type="presParOf" srcId="{18F9F06E-EE19-4721-8435-9E7C14A4F492}" destId="{4311A214-8010-41A8-A2AC-1F575E448A95}" srcOrd="0" destOrd="0" presId="urn:microsoft.com/office/officeart/2005/8/layout/hierarchy6"/>
    <dgm:cxn modelId="{D85B26B2-AEEC-4E4B-8D5E-3828A901247E}" type="presParOf" srcId="{18F9F06E-EE19-4721-8435-9E7C14A4F492}" destId="{1ED6B6AF-7577-4C84-8D29-807AA7844ACA}" srcOrd="1" destOrd="0" presId="urn:microsoft.com/office/officeart/2005/8/layout/hierarchy6"/>
    <dgm:cxn modelId="{7B11BF9B-43C6-4E17-A150-6BE5DD782A45}" type="presParOf" srcId="{1ED6B6AF-7577-4C84-8D29-807AA7844ACA}" destId="{FEC44A9A-21C9-4606-8051-78C812299206}" srcOrd="0" destOrd="0" presId="urn:microsoft.com/office/officeart/2005/8/layout/hierarchy6"/>
    <dgm:cxn modelId="{1BFAF2C8-7C83-4CD6-A039-562424A928C2}" type="presParOf" srcId="{1ED6B6AF-7577-4C84-8D29-807AA7844ACA}" destId="{11BB9D16-A8B3-43E8-92CB-2C526AFA5114}" srcOrd="1" destOrd="0" presId="urn:microsoft.com/office/officeart/2005/8/layout/hierarchy6"/>
    <dgm:cxn modelId="{85CD2877-E99A-4B90-BCFF-5B609906E1A7}" type="presParOf" srcId="{11BB9D16-A8B3-43E8-92CB-2C526AFA5114}" destId="{1550904D-9E76-4B81-B1F5-A9E14E2B453C}" srcOrd="0" destOrd="0" presId="urn:microsoft.com/office/officeart/2005/8/layout/hierarchy6"/>
    <dgm:cxn modelId="{B97540B8-5486-4135-A402-2CDE45B65E07}" type="presParOf" srcId="{11BB9D16-A8B3-43E8-92CB-2C526AFA5114}" destId="{46871212-9B8D-4FBB-80FA-8AC0F5B45061}" srcOrd="1" destOrd="0" presId="urn:microsoft.com/office/officeart/2005/8/layout/hierarchy6"/>
    <dgm:cxn modelId="{465D82DC-375F-40AB-AAEF-1FB667033E6B}" type="presParOf" srcId="{1ED6B6AF-7577-4C84-8D29-807AA7844ACA}" destId="{6F91ACC4-26DE-449A-AFEC-5682DA880D48}" srcOrd="2" destOrd="0" presId="urn:microsoft.com/office/officeart/2005/8/layout/hierarchy6"/>
    <dgm:cxn modelId="{2E51A7D9-A700-451E-A30F-ED3FF547F217}" type="presParOf" srcId="{1ED6B6AF-7577-4C84-8D29-807AA7844ACA}" destId="{47ACA756-3EFE-4BEC-81BD-5FA7FD4661A6}" srcOrd="3" destOrd="0" presId="urn:microsoft.com/office/officeart/2005/8/layout/hierarchy6"/>
    <dgm:cxn modelId="{980CE673-877F-43C7-9CF7-7C0D5DFBB591}" type="presParOf" srcId="{47ACA756-3EFE-4BEC-81BD-5FA7FD4661A6}" destId="{144127C2-2487-4A15-8713-339DCE036467}" srcOrd="0" destOrd="0" presId="urn:microsoft.com/office/officeart/2005/8/layout/hierarchy6"/>
    <dgm:cxn modelId="{72D716F2-0464-4E02-97BF-AB8030CC95B4}" type="presParOf" srcId="{47ACA756-3EFE-4BEC-81BD-5FA7FD4661A6}" destId="{1E5A2432-A484-4C8A-A977-0A6A72162246}" srcOrd="1" destOrd="0" presId="urn:microsoft.com/office/officeart/2005/8/layout/hierarchy6"/>
    <dgm:cxn modelId="{F424D339-8068-4B17-9E13-25B71204E147}" type="presParOf" srcId="{1E5A2432-A484-4C8A-A977-0A6A72162246}" destId="{563A516D-AEF8-4506-9C6E-50A5505BE890}" srcOrd="0" destOrd="0" presId="urn:microsoft.com/office/officeart/2005/8/layout/hierarchy6"/>
    <dgm:cxn modelId="{79337818-3B0F-44A5-8ADC-109FAF16E62B}" type="presParOf" srcId="{1E5A2432-A484-4C8A-A977-0A6A72162246}" destId="{B441A33B-3FF3-48D7-8E18-CD0FBDB46AE5}" srcOrd="1" destOrd="0" presId="urn:microsoft.com/office/officeart/2005/8/layout/hierarchy6"/>
    <dgm:cxn modelId="{A2F8E885-6C5C-49F1-96EF-BC5757A6D379}" type="presParOf" srcId="{B441A33B-3FF3-48D7-8E18-CD0FBDB46AE5}" destId="{ABD5F001-92E7-4072-85AC-07E59887CB15}" srcOrd="0" destOrd="0" presId="urn:microsoft.com/office/officeart/2005/8/layout/hierarchy6"/>
    <dgm:cxn modelId="{7DFF5625-48C1-44CA-AD28-269A13EC97A3}" type="presParOf" srcId="{B441A33B-3FF3-48D7-8E18-CD0FBDB46AE5}" destId="{CD349B4C-DB9F-44C5-A18B-81FAD0C27737}" srcOrd="1" destOrd="0" presId="urn:microsoft.com/office/officeart/2005/8/layout/hierarchy6"/>
    <dgm:cxn modelId="{6024D0CA-7E7B-4679-9576-055D92874D85}" type="presParOf" srcId="{1E5A2432-A484-4C8A-A977-0A6A72162246}" destId="{2B52B1C9-E455-4241-9CB1-5CD51BB25F65}" srcOrd="2" destOrd="0" presId="urn:microsoft.com/office/officeart/2005/8/layout/hierarchy6"/>
    <dgm:cxn modelId="{A89E72BC-A375-4B65-93D8-204A0148F39D}" type="presParOf" srcId="{1E5A2432-A484-4C8A-A977-0A6A72162246}" destId="{C55250D8-FA36-4455-B54B-8125B9E92C49}" srcOrd="3" destOrd="0" presId="urn:microsoft.com/office/officeart/2005/8/layout/hierarchy6"/>
    <dgm:cxn modelId="{1CF607D1-2E14-4F12-B8BE-E239BFEB8624}" type="presParOf" srcId="{C55250D8-FA36-4455-B54B-8125B9E92C49}" destId="{F760E44B-F2B7-42C8-892D-C15058943036}" srcOrd="0" destOrd="0" presId="urn:microsoft.com/office/officeart/2005/8/layout/hierarchy6"/>
    <dgm:cxn modelId="{EC2348A5-A359-419E-8882-7C18F48587EE}" type="presParOf" srcId="{C55250D8-FA36-4455-B54B-8125B9E92C49}" destId="{667BB839-46EB-4EDF-9B3B-367CF472CEE4}" srcOrd="1" destOrd="0" presId="urn:microsoft.com/office/officeart/2005/8/layout/hierarchy6"/>
    <dgm:cxn modelId="{78FAAE06-DE6A-461E-A51F-B79BF125DC85}" type="presParOf" srcId="{A8B4AD74-FEB7-45B5-96F1-0CA215FDF16E}" destId="{331E603D-A4E6-40D6-895A-AB2290E3C60C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E02CFE8-CA39-402B-B426-A91228F54F1C}" type="doc">
      <dgm:prSet loTypeId="urn:microsoft.com/office/officeart/2005/8/layout/hierarchy6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de-DE"/>
        </a:p>
      </dgm:t>
    </dgm:pt>
    <dgm:pt modelId="{56483AF1-C635-4A4B-A2C5-D80E534BADC5}">
      <dgm:prSet phldrT="[Text]"/>
      <dgm:spPr/>
      <dgm:t>
        <a:bodyPr/>
        <a:lstStyle/>
        <a:p>
          <a:r>
            <a:rPr lang="de-DE" dirty="0"/>
            <a:t>Sensor Health Monitoring (Flight)</a:t>
          </a:r>
        </a:p>
      </dgm:t>
    </dgm:pt>
    <dgm:pt modelId="{C3019227-1575-4642-94D6-DE3C9AA0990C}" type="parTrans" cxnId="{9A9EE405-83B6-4577-9652-A6E28BF384B1}">
      <dgm:prSet/>
      <dgm:spPr/>
      <dgm:t>
        <a:bodyPr/>
        <a:lstStyle/>
        <a:p>
          <a:endParaRPr lang="de-DE"/>
        </a:p>
      </dgm:t>
    </dgm:pt>
    <dgm:pt modelId="{A03458F9-379C-4002-A831-A1983BC92E9E}" type="sibTrans" cxnId="{9A9EE405-83B6-4577-9652-A6E28BF384B1}">
      <dgm:prSet/>
      <dgm:spPr/>
      <dgm:t>
        <a:bodyPr/>
        <a:lstStyle/>
        <a:p>
          <a:endParaRPr lang="de-DE"/>
        </a:p>
      </dgm:t>
    </dgm:pt>
    <dgm:pt modelId="{D72453B6-1B40-48C3-A2D3-C6000198E162}">
      <dgm:prSet phldrT="[Text]"/>
      <dgm:spPr/>
      <dgm:t>
        <a:bodyPr/>
        <a:lstStyle/>
        <a:p>
          <a:r>
            <a:rPr lang="de-DE" dirty="0" err="1"/>
            <a:t>Missing</a:t>
          </a:r>
          <a:r>
            <a:rPr lang="de-DE" dirty="0"/>
            <a:t> Parameters</a:t>
          </a:r>
        </a:p>
      </dgm:t>
    </dgm:pt>
    <dgm:pt modelId="{5A42597E-7C44-431A-9CA8-9E2FBD09D033}" type="parTrans" cxnId="{0242CF17-BEF4-43BE-A3B9-476515D8C5E7}">
      <dgm:prSet/>
      <dgm:spPr/>
      <dgm:t>
        <a:bodyPr/>
        <a:lstStyle/>
        <a:p>
          <a:endParaRPr lang="de-DE"/>
        </a:p>
      </dgm:t>
    </dgm:pt>
    <dgm:pt modelId="{DE5C86DB-C89D-4D69-BB38-40858F2862A3}" type="sibTrans" cxnId="{0242CF17-BEF4-43BE-A3B9-476515D8C5E7}">
      <dgm:prSet/>
      <dgm:spPr/>
      <dgm:t>
        <a:bodyPr/>
        <a:lstStyle/>
        <a:p>
          <a:endParaRPr lang="de-DE"/>
        </a:p>
      </dgm:t>
    </dgm:pt>
    <dgm:pt modelId="{63A93EE4-34D3-4D82-836B-6E5AA8FED95F}">
      <dgm:prSet phldrT="[Text]"/>
      <dgm:spPr/>
      <dgm:t>
        <a:bodyPr/>
        <a:lstStyle/>
        <a:p>
          <a:r>
            <a:rPr lang="de-DE" dirty="0"/>
            <a:t>Single Sensor </a:t>
          </a:r>
          <a:r>
            <a:rPr lang="de-DE" dirty="0" err="1"/>
            <a:t>Behavior</a:t>
          </a:r>
          <a:endParaRPr lang="de-DE" dirty="0"/>
        </a:p>
      </dgm:t>
    </dgm:pt>
    <dgm:pt modelId="{73B85369-6C0F-401B-95E3-5EE852952C3D}" type="parTrans" cxnId="{846A7EC6-D7C9-4DFF-AB9B-C7AAD4F42447}">
      <dgm:prSet/>
      <dgm:spPr/>
      <dgm:t>
        <a:bodyPr/>
        <a:lstStyle/>
        <a:p>
          <a:endParaRPr lang="de-DE"/>
        </a:p>
      </dgm:t>
    </dgm:pt>
    <dgm:pt modelId="{22A2FA2D-D7F8-4B4E-BAB3-65308F93F773}" type="sibTrans" cxnId="{846A7EC6-D7C9-4DFF-AB9B-C7AAD4F42447}">
      <dgm:prSet/>
      <dgm:spPr/>
      <dgm:t>
        <a:bodyPr/>
        <a:lstStyle/>
        <a:p>
          <a:endParaRPr lang="de-DE"/>
        </a:p>
      </dgm:t>
    </dgm:pt>
    <dgm:pt modelId="{442389D6-4FA4-46DF-A0A1-92051AC36593}">
      <dgm:prSet phldrT="[Text]"/>
      <dgm:spPr/>
      <dgm:t>
        <a:bodyPr/>
        <a:lstStyle/>
        <a:p>
          <a:r>
            <a:rPr lang="de-DE" dirty="0"/>
            <a:t>List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missing</a:t>
          </a:r>
          <a:r>
            <a:rPr lang="de-DE" dirty="0"/>
            <a:t> </a:t>
          </a:r>
          <a:r>
            <a:rPr lang="de-DE" dirty="0" err="1"/>
            <a:t>parameters</a:t>
          </a:r>
          <a:endParaRPr lang="de-DE" dirty="0"/>
        </a:p>
      </dgm:t>
    </dgm:pt>
    <dgm:pt modelId="{7103902E-A69F-47A2-975A-A000521A02EF}" type="parTrans" cxnId="{22C90907-FF2F-49C6-B793-0BCF52C86E4E}">
      <dgm:prSet/>
      <dgm:spPr/>
      <dgm:t>
        <a:bodyPr/>
        <a:lstStyle/>
        <a:p>
          <a:endParaRPr lang="de-DE"/>
        </a:p>
      </dgm:t>
    </dgm:pt>
    <dgm:pt modelId="{64C7C6EE-27E3-487E-86EA-47EB27365CFF}" type="sibTrans" cxnId="{22C90907-FF2F-49C6-B793-0BCF52C86E4E}">
      <dgm:prSet/>
      <dgm:spPr/>
      <dgm:t>
        <a:bodyPr/>
        <a:lstStyle/>
        <a:p>
          <a:endParaRPr lang="de-DE"/>
        </a:p>
      </dgm:t>
    </dgm:pt>
    <dgm:pt modelId="{09BF193C-3CEB-4832-A69D-44EDDBC471FF}">
      <dgm:prSet phldrT="[Text]"/>
      <dgm:spPr/>
      <dgm:t>
        <a:bodyPr/>
        <a:lstStyle/>
        <a:p>
          <a:r>
            <a:rPr lang="de-DE" dirty="0" err="1"/>
            <a:t>Physical</a:t>
          </a:r>
          <a:r>
            <a:rPr lang="de-DE" dirty="0"/>
            <a:t> </a:t>
          </a:r>
          <a:r>
            <a:rPr lang="de-DE" dirty="0" err="1"/>
            <a:t>values</a:t>
          </a:r>
          <a:r>
            <a:rPr lang="de-DE" dirty="0"/>
            <a:t> out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bounds</a:t>
          </a:r>
          <a:endParaRPr lang="de-DE" dirty="0"/>
        </a:p>
      </dgm:t>
    </dgm:pt>
    <dgm:pt modelId="{D8B07E2F-75AC-4836-B92F-28279109AD9E}" type="parTrans" cxnId="{E1F2A043-31A3-4518-980E-37245B7705DA}">
      <dgm:prSet/>
      <dgm:spPr/>
      <dgm:t>
        <a:bodyPr/>
        <a:lstStyle/>
        <a:p>
          <a:endParaRPr lang="de-DE"/>
        </a:p>
      </dgm:t>
    </dgm:pt>
    <dgm:pt modelId="{E9730142-F2BA-4308-BF5B-378DC914C18D}" type="sibTrans" cxnId="{E1F2A043-31A3-4518-980E-37245B7705DA}">
      <dgm:prSet/>
      <dgm:spPr/>
      <dgm:t>
        <a:bodyPr/>
        <a:lstStyle/>
        <a:p>
          <a:endParaRPr lang="de-DE"/>
        </a:p>
      </dgm:t>
    </dgm:pt>
    <dgm:pt modelId="{9C7D93CA-DC09-4558-A694-42ECA196D7D3}">
      <dgm:prSet phldrT="[Text]"/>
      <dgm:spPr/>
      <dgm:t>
        <a:bodyPr/>
        <a:lstStyle/>
        <a:p>
          <a:r>
            <a:rPr lang="de-DE" dirty="0"/>
            <a:t>Amplitude out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bounds</a:t>
          </a:r>
          <a:endParaRPr lang="de-DE" dirty="0"/>
        </a:p>
      </dgm:t>
    </dgm:pt>
    <dgm:pt modelId="{33344B1E-7E84-44EA-8BCD-1E221ACA98EE}" type="parTrans" cxnId="{3861042A-A667-41C6-B2D1-F911F15EA0CF}">
      <dgm:prSet/>
      <dgm:spPr/>
      <dgm:t>
        <a:bodyPr/>
        <a:lstStyle/>
        <a:p>
          <a:endParaRPr lang="de-DE"/>
        </a:p>
      </dgm:t>
    </dgm:pt>
    <dgm:pt modelId="{A4FF6ED6-8A4E-483C-8C14-3AD9515CE022}" type="sibTrans" cxnId="{3861042A-A667-41C6-B2D1-F911F15EA0CF}">
      <dgm:prSet/>
      <dgm:spPr/>
      <dgm:t>
        <a:bodyPr/>
        <a:lstStyle/>
        <a:p>
          <a:endParaRPr lang="de-DE"/>
        </a:p>
      </dgm:t>
    </dgm:pt>
    <dgm:pt modelId="{7199B73F-B0F6-48CA-B2CA-40B26A3C5528}">
      <dgm:prSet phldrT="[Text]"/>
      <dgm:spPr/>
      <dgm:t>
        <a:bodyPr/>
        <a:lstStyle/>
        <a:p>
          <a:r>
            <a:rPr lang="de-DE" dirty="0"/>
            <a:t>Sampling </a:t>
          </a:r>
          <a:r>
            <a:rPr lang="de-DE" dirty="0" err="1"/>
            <a:t>anomalous</a:t>
          </a:r>
          <a:endParaRPr lang="de-DE" dirty="0"/>
        </a:p>
      </dgm:t>
    </dgm:pt>
    <dgm:pt modelId="{64406287-2E1E-4286-8A25-1771E50401DF}" type="parTrans" cxnId="{D4D08D9A-AE0E-42E6-B569-65F8C1CE7CBA}">
      <dgm:prSet/>
      <dgm:spPr/>
      <dgm:t>
        <a:bodyPr/>
        <a:lstStyle/>
        <a:p>
          <a:endParaRPr lang="de-DE"/>
        </a:p>
      </dgm:t>
    </dgm:pt>
    <dgm:pt modelId="{C26AD03D-07D5-4390-A367-A1AB99E59027}" type="sibTrans" cxnId="{D4D08D9A-AE0E-42E6-B569-65F8C1CE7CBA}">
      <dgm:prSet/>
      <dgm:spPr/>
      <dgm:t>
        <a:bodyPr/>
        <a:lstStyle/>
        <a:p>
          <a:endParaRPr lang="de-DE"/>
        </a:p>
      </dgm:t>
    </dgm:pt>
    <dgm:pt modelId="{2416C206-EFD1-43CA-8019-B37B45A2BA1A}">
      <dgm:prSet phldrT="[Text]"/>
      <dgm:spPr/>
      <dgm:t>
        <a:bodyPr/>
        <a:lstStyle/>
        <a:p>
          <a:r>
            <a:rPr lang="de-DE" dirty="0"/>
            <a:t>Level 3</a:t>
          </a:r>
        </a:p>
      </dgm:t>
    </dgm:pt>
    <dgm:pt modelId="{71647466-359C-4739-BB86-A771A6EFF317}" type="parTrans" cxnId="{2975D3D0-854F-4F59-8E37-FFE2C17174B7}">
      <dgm:prSet/>
      <dgm:spPr/>
      <dgm:t>
        <a:bodyPr/>
        <a:lstStyle/>
        <a:p>
          <a:endParaRPr lang="de-DE"/>
        </a:p>
      </dgm:t>
    </dgm:pt>
    <dgm:pt modelId="{4C2D2401-D959-4B2F-BB05-DA31B58D787B}" type="sibTrans" cxnId="{2975D3D0-854F-4F59-8E37-FFE2C17174B7}">
      <dgm:prSet/>
      <dgm:spPr/>
      <dgm:t>
        <a:bodyPr/>
        <a:lstStyle/>
        <a:p>
          <a:endParaRPr lang="de-DE"/>
        </a:p>
      </dgm:t>
    </dgm:pt>
    <dgm:pt modelId="{7FBD44FF-88A3-4422-943D-6F52D836D006}">
      <dgm:prSet phldrT="[Text]"/>
      <dgm:spPr/>
      <dgm:t>
        <a:bodyPr/>
        <a:lstStyle/>
        <a:p>
          <a:r>
            <a:rPr lang="de-DE" dirty="0"/>
            <a:t>Level 3 </a:t>
          </a:r>
          <a:r>
            <a:rPr lang="de-DE" dirty="0" err="1"/>
            <a:t>hierarchy</a:t>
          </a:r>
          <a:r>
            <a:rPr lang="de-DE" dirty="0"/>
            <a:t> </a:t>
          </a:r>
        </a:p>
      </dgm:t>
    </dgm:pt>
    <dgm:pt modelId="{587FCE1A-D27E-4785-A1C2-76A49A478CCE}" type="parTrans" cxnId="{43127BB9-9574-4D94-B389-F19694A7B57B}">
      <dgm:prSet/>
      <dgm:spPr/>
      <dgm:t>
        <a:bodyPr/>
        <a:lstStyle/>
        <a:p>
          <a:endParaRPr lang="de-DE"/>
        </a:p>
      </dgm:t>
    </dgm:pt>
    <dgm:pt modelId="{323473C1-7B74-49F6-816B-6206B40AB414}" type="sibTrans" cxnId="{43127BB9-9574-4D94-B389-F19694A7B57B}">
      <dgm:prSet/>
      <dgm:spPr/>
      <dgm:t>
        <a:bodyPr/>
        <a:lstStyle/>
        <a:p>
          <a:endParaRPr lang="de-DE"/>
        </a:p>
      </dgm:t>
    </dgm:pt>
    <dgm:pt modelId="{8603E966-596B-4A15-957D-D9936BA05A25}">
      <dgm:prSet phldrT="[Text]"/>
      <dgm:spPr/>
      <dgm:t>
        <a:bodyPr/>
        <a:lstStyle/>
        <a:p>
          <a:r>
            <a:rPr lang="de-DE" dirty="0"/>
            <a:t>Parameter 1</a:t>
          </a:r>
        </a:p>
      </dgm:t>
    </dgm:pt>
    <dgm:pt modelId="{D90BB766-50E4-481A-BC5D-83838754A5C4}" type="parTrans" cxnId="{D9B0FDB8-DED9-4334-BB3C-ECAC906264FD}">
      <dgm:prSet/>
      <dgm:spPr/>
      <dgm:t>
        <a:bodyPr/>
        <a:lstStyle/>
        <a:p>
          <a:endParaRPr lang="de-DE"/>
        </a:p>
      </dgm:t>
    </dgm:pt>
    <dgm:pt modelId="{D6BA3976-16F4-4BC9-BC58-F8650E854393}" type="sibTrans" cxnId="{D9B0FDB8-DED9-4334-BB3C-ECAC906264FD}">
      <dgm:prSet/>
      <dgm:spPr/>
      <dgm:t>
        <a:bodyPr/>
        <a:lstStyle/>
        <a:p>
          <a:endParaRPr lang="de-DE"/>
        </a:p>
      </dgm:t>
    </dgm:pt>
    <dgm:pt modelId="{D9A9B1DA-6D82-4613-8D08-A6861FFCE97B}">
      <dgm:prSet phldrT="[Text]"/>
      <dgm:spPr/>
      <dgm:t>
        <a:bodyPr/>
        <a:lstStyle/>
        <a:p>
          <a:r>
            <a:rPr lang="de-DE" dirty="0" err="1"/>
            <a:t>Occurrences</a:t>
          </a:r>
          <a:endParaRPr lang="de-DE" dirty="0"/>
        </a:p>
      </dgm:t>
    </dgm:pt>
    <dgm:pt modelId="{4F848166-B845-45B1-99D7-E39E8655BA84}" type="parTrans" cxnId="{8DBB82CE-08F6-40CD-93F6-3E5ECF11CE68}">
      <dgm:prSet/>
      <dgm:spPr/>
      <dgm:t>
        <a:bodyPr/>
        <a:lstStyle/>
        <a:p>
          <a:endParaRPr lang="de-DE"/>
        </a:p>
      </dgm:t>
    </dgm:pt>
    <dgm:pt modelId="{BBDAABF3-E08D-4021-AE50-E60D652BA10D}" type="sibTrans" cxnId="{8DBB82CE-08F6-40CD-93F6-3E5ECF11CE68}">
      <dgm:prSet/>
      <dgm:spPr/>
      <dgm:t>
        <a:bodyPr/>
        <a:lstStyle/>
        <a:p>
          <a:endParaRPr lang="de-DE"/>
        </a:p>
      </dgm:t>
    </dgm:pt>
    <dgm:pt modelId="{9F264E93-BE01-410C-A847-D353BCB7A768}">
      <dgm:prSet phldrT="[Text]"/>
      <dgm:spPr/>
      <dgm:t>
        <a:bodyPr/>
        <a:lstStyle/>
        <a:p>
          <a:r>
            <a:rPr lang="de-DE" dirty="0"/>
            <a:t>Tag 1</a:t>
          </a:r>
        </a:p>
      </dgm:t>
    </dgm:pt>
    <dgm:pt modelId="{BFA2E79F-3111-4CE0-8D61-D1766DDF62FD}" type="parTrans" cxnId="{11FE9517-B0A6-4689-935D-EF0ECF0FB31D}">
      <dgm:prSet/>
      <dgm:spPr/>
      <dgm:t>
        <a:bodyPr/>
        <a:lstStyle/>
        <a:p>
          <a:endParaRPr lang="de-DE"/>
        </a:p>
      </dgm:t>
    </dgm:pt>
    <dgm:pt modelId="{788FE24A-22D5-42BF-87E7-86826968ADDD}" type="sibTrans" cxnId="{11FE9517-B0A6-4689-935D-EF0ECF0FB31D}">
      <dgm:prSet/>
      <dgm:spPr/>
      <dgm:t>
        <a:bodyPr/>
        <a:lstStyle/>
        <a:p>
          <a:endParaRPr lang="de-DE"/>
        </a:p>
      </dgm:t>
    </dgm:pt>
    <dgm:pt modelId="{8E27DA7E-A20E-4FAF-9C73-9C317F4A61C3}">
      <dgm:prSet phldrT="[Text]"/>
      <dgm:spPr/>
      <dgm:t>
        <a:bodyPr/>
        <a:lstStyle/>
        <a:p>
          <a:r>
            <a:rPr lang="de-DE" dirty="0"/>
            <a:t>Parameter 1</a:t>
          </a:r>
        </a:p>
      </dgm:t>
    </dgm:pt>
    <dgm:pt modelId="{34906A0C-A482-401D-824C-A04AEACA8C2E}" type="parTrans" cxnId="{AE1173EB-F70E-413F-840A-D49C17F15BE1}">
      <dgm:prSet/>
      <dgm:spPr/>
      <dgm:t>
        <a:bodyPr/>
        <a:lstStyle/>
        <a:p>
          <a:endParaRPr lang="de-DE"/>
        </a:p>
      </dgm:t>
    </dgm:pt>
    <dgm:pt modelId="{B2EA2E97-7DFC-477C-BBD1-9E36AD513189}" type="sibTrans" cxnId="{AE1173EB-F70E-413F-840A-D49C17F15BE1}">
      <dgm:prSet/>
      <dgm:spPr/>
      <dgm:t>
        <a:bodyPr/>
        <a:lstStyle/>
        <a:p>
          <a:endParaRPr lang="de-DE"/>
        </a:p>
      </dgm:t>
    </dgm:pt>
    <dgm:pt modelId="{21D4902A-898A-420F-B2FD-1314527F70EB}">
      <dgm:prSet phldrT="[Text]"/>
      <dgm:spPr/>
      <dgm:t>
        <a:bodyPr/>
        <a:lstStyle/>
        <a:p>
          <a:r>
            <a:rPr lang="de-DE" dirty="0"/>
            <a:t>Parameter 2</a:t>
          </a:r>
        </a:p>
      </dgm:t>
    </dgm:pt>
    <dgm:pt modelId="{CA52665F-EA39-4670-83F7-2C328855D0CB}" type="parTrans" cxnId="{B7ACBB2A-1A21-439F-BB01-5143391733F7}">
      <dgm:prSet/>
      <dgm:spPr/>
      <dgm:t>
        <a:bodyPr/>
        <a:lstStyle/>
        <a:p>
          <a:endParaRPr lang="de-DE"/>
        </a:p>
      </dgm:t>
    </dgm:pt>
    <dgm:pt modelId="{55756083-AE59-4E36-AB94-D6038EC8BCF2}" type="sibTrans" cxnId="{B7ACBB2A-1A21-439F-BB01-5143391733F7}">
      <dgm:prSet/>
      <dgm:spPr/>
      <dgm:t>
        <a:bodyPr/>
        <a:lstStyle/>
        <a:p>
          <a:endParaRPr lang="de-DE"/>
        </a:p>
      </dgm:t>
    </dgm:pt>
    <dgm:pt modelId="{496B62AC-547F-4114-819D-C94621BBB125}">
      <dgm:prSet phldrT="[Text]"/>
      <dgm:spPr/>
      <dgm:t>
        <a:bodyPr/>
        <a:lstStyle/>
        <a:p>
          <a:r>
            <a:rPr lang="de-DE" dirty="0"/>
            <a:t>Parameter 2</a:t>
          </a:r>
        </a:p>
      </dgm:t>
    </dgm:pt>
    <dgm:pt modelId="{8A451B00-A16F-4E11-9380-3A4B8E73C259}" type="parTrans" cxnId="{5CB5F2CA-AB64-4C4A-AFC5-43AE98F80E17}">
      <dgm:prSet/>
      <dgm:spPr/>
      <dgm:t>
        <a:bodyPr/>
        <a:lstStyle/>
        <a:p>
          <a:endParaRPr lang="de-DE"/>
        </a:p>
      </dgm:t>
    </dgm:pt>
    <dgm:pt modelId="{C8C81DA2-A0B7-41EF-9708-D744C20A8B60}" type="sibTrans" cxnId="{5CB5F2CA-AB64-4C4A-AFC5-43AE98F80E17}">
      <dgm:prSet/>
      <dgm:spPr/>
      <dgm:t>
        <a:bodyPr/>
        <a:lstStyle/>
        <a:p>
          <a:endParaRPr lang="de-DE"/>
        </a:p>
      </dgm:t>
    </dgm:pt>
    <dgm:pt modelId="{8FA76B6F-7DDA-47F0-BB68-815321409A60}">
      <dgm:prSet phldrT="[Text]"/>
      <dgm:spPr/>
      <dgm:t>
        <a:bodyPr/>
        <a:lstStyle/>
        <a:p>
          <a:r>
            <a:rPr lang="de-DE" dirty="0"/>
            <a:t>Parameter 3</a:t>
          </a:r>
        </a:p>
      </dgm:t>
    </dgm:pt>
    <dgm:pt modelId="{78F5A77F-8CEC-4428-96C6-C6618CFBFC59}" type="parTrans" cxnId="{FA2781D0-F8C4-4832-A5AC-55CE29FB22D2}">
      <dgm:prSet/>
      <dgm:spPr/>
      <dgm:t>
        <a:bodyPr/>
        <a:lstStyle/>
        <a:p>
          <a:endParaRPr lang="de-DE"/>
        </a:p>
      </dgm:t>
    </dgm:pt>
    <dgm:pt modelId="{CB4CB903-AC6C-4838-8290-B540949850BE}" type="sibTrans" cxnId="{FA2781D0-F8C4-4832-A5AC-55CE29FB22D2}">
      <dgm:prSet/>
      <dgm:spPr/>
      <dgm:t>
        <a:bodyPr/>
        <a:lstStyle/>
        <a:p>
          <a:endParaRPr lang="de-DE"/>
        </a:p>
      </dgm:t>
    </dgm:pt>
    <dgm:pt modelId="{AAE7428A-52E8-423C-A770-65DF99F89712}">
      <dgm:prSet phldrT="[Text]"/>
      <dgm:spPr/>
      <dgm:t>
        <a:bodyPr/>
        <a:lstStyle/>
        <a:p>
          <a:r>
            <a:rPr lang="de-DE" dirty="0"/>
            <a:t>Limits</a:t>
          </a:r>
        </a:p>
      </dgm:t>
    </dgm:pt>
    <dgm:pt modelId="{D3D52EC5-D1E8-4A11-85BD-344A7A31E664}" type="parTrans" cxnId="{AB36D74F-1B42-4616-AF85-1717F21F3B46}">
      <dgm:prSet/>
      <dgm:spPr/>
      <dgm:t>
        <a:bodyPr/>
        <a:lstStyle/>
        <a:p>
          <a:endParaRPr lang="de-DE"/>
        </a:p>
      </dgm:t>
    </dgm:pt>
    <dgm:pt modelId="{EAB1977C-9EB0-4231-A43B-8CB6977D84D1}" type="sibTrans" cxnId="{AB36D74F-1B42-4616-AF85-1717F21F3B46}">
      <dgm:prSet/>
      <dgm:spPr/>
      <dgm:t>
        <a:bodyPr/>
        <a:lstStyle/>
        <a:p>
          <a:endParaRPr lang="de-DE"/>
        </a:p>
      </dgm:t>
    </dgm:pt>
    <dgm:pt modelId="{A8B4AD74-FEB7-45B5-96F1-0CA215FDF16E}" type="pres">
      <dgm:prSet presAssocID="{CE02CFE8-CA39-402B-B426-A91228F54F1C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F0B8296A-156B-4811-97A0-509CFF47D6DC}" type="pres">
      <dgm:prSet presAssocID="{CE02CFE8-CA39-402B-B426-A91228F54F1C}" presName="hierFlow" presStyleCnt="0"/>
      <dgm:spPr/>
    </dgm:pt>
    <dgm:pt modelId="{B0CCB1CE-D09D-43FD-A4AE-A5DA251DCC28}" type="pres">
      <dgm:prSet presAssocID="{CE02CFE8-CA39-402B-B426-A91228F54F1C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0FB0190-DD80-4FD5-9DAA-1CA066D2025A}" type="pres">
      <dgm:prSet presAssocID="{56483AF1-C635-4A4B-A2C5-D80E534BADC5}" presName="Name14" presStyleCnt="0"/>
      <dgm:spPr/>
    </dgm:pt>
    <dgm:pt modelId="{A0D6BC04-172F-4C40-8C56-B34AE3F795C5}" type="pres">
      <dgm:prSet presAssocID="{56483AF1-C635-4A4B-A2C5-D80E534BADC5}" presName="level1Shape" presStyleLbl="node0" presStyleIdx="0" presStyleCnt="1">
        <dgm:presLayoutVars>
          <dgm:chPref val="3"/>
        </dgm:presLayoutVars>
      </dgm:prSet>
      <dgm:spPr/>
    </dgm:pt>
    <dgm:pt modelId="{3D4FD5A5-2371-4777-80F4-C5EAC4C7D98C}" type="pres">
      <dgm:prSet presAssocID="{56483AF1-C635-4A4B-A2C5-D80E534BADC5}" presName="hierChild2" presStyleCnt="0"/>
      <dgm:spPr/>
    </dgm:pt>
    <dgm:pt modelId="{53DA0C7F-A410-4F3A-A551-31BB8CEAAF35}" type="pres">
      <dgm:prSet presAssocID="{5A42597E-7C44-431A-9CA8-9E2FBD09D033}" presName="Name19" presStyleLbl="parChTrans1D2" presStyleIdx="0" presStyleCnt="3"/>
      <dgm:spPr/>
    </dgm:pt>
    <dgm:pt modelId="{B2ED7BAE-2987-4978-BF1C-7D3EF95880C8}" type="pres">
      <dgm:prSet presAssocID="{D72453B6-1B40-48C3-A2D3-C6000198E162}" presName="Name21" presStyleCnt="0"/>
      <dgm:spPr/>
    </dgm:pt>
    <dgm:pt modelId="{A8EDB877-DFB8-4595-8FB6-9818237BFD04}" type="pres">
      <dgm:prSet presAssocID="{D72453B6-1B40-48C3-A2D3-C6000198E162}" presName="level2Shape" presStyleLbl="node2" presStyleIdx="0" presStyleCnt="3"/>
      <dgm:spPr/>
    </dgm:pt>
    <dgm:pt modelId="{CADF14EF-3DC5-4B01-A196-115E3728D79A}" type="pres">
      <dgm:prSet presAssocID="{D72453B6-1B40-48C3-A2D3-C6000198E162}" presName="hierChild3" presStyleCnt="0"/>
      <dgm:spPr/>
    </dgm:pt>
    <dgm:pt modelId="{9A6EA72D-7950-47A3-9563-AA81B9FE237C}" type="pres">
      <dgm:prSet presAssocID="{7103902E-A69F-47A2-975A-A000521A02EF}" presName="Name19" presStyleLbl="parChTrans1D3" presStyleIdx="0" presStyleCnt="5"/>
      <dgm:spPr/>
    </dgm:pt>
    <dgm:pt modelId="{CB804CD7-A213-4C9B-8FF3-D7822E47946B}" type="pres">
      <dgm:prSet presAssocID="{442389D6-4FA4-46DF-A0A1-92051AC36593}" presName="Name21" presStyleCnt="0"/>
      <dgm:spPr/>
    </dgm:pt>
    <dgm:pt modelId="{FC5B1BF2-BC6A-407E-BC6D-26BC5ADD1044}" type="pres">
      <dgm:prSet presAssocID="{442389D6-4FA4-46DF-A0A1-92051AC36593}" presName="level2Shape" presStyleLbl="node3" presStyleIdx="0" presStyleCnt="5"/>
      <dgm:spPr/>
    </dgm:pt>
    <dgm:pt modelId="{DCE31B69-BA80-4980-9E2D-AC4A9F23C10C}" type="pres">
      <dgm:prSet presAssocID="{442389D6-4FA4-46DF-A0A1-92051AC36593}" presName="hierChild3" presStyleCnt="0"/>
      <dgm:spPr/>
    </dgm:pt>
    <dgm:pt modelId="{41056A6E-9F86-4F20-B58E-BEBCB3407388}" type="pres">
      <dgm:prSet presAssocID="{8A451B00-A16F-4E11-9380-3A4B8E73C259}" presName="Name19" presStyleLbl="parChTrans1D4" presStyleIdx="0" presStyleCnt="8"/>
      <dgm:spPr/>
    </dgm:pt>
    <dgm:pt modelId="{4A276469-2B8A-4F50-A8F6-2E7B7C1B5049}" type="pres">
      <dgm:prSet presAssocID="{496B62AC-547F-4114-819D-C94621BBB125}" presName="Name21" presStyleCnt="0"/>
      <dgm:spPr/>
    </dgm:pt>
    <dgm:pt modelId="{E7B8E041-27A7-4DC0-B0A8-54E724C58F0D}" type="pres">
      <dgm:prSet presAssocID="{496B62AC-547F-4114-819D-C94621BBB125}" presName="level2Shape" presStyleLbl="node4" presStyleIdx="0" presStyleCnt="8"/>
      <dgm:spPr/>
    </dgm:pt>
    <dgm:pt modelId="{AA2E27A2-BA63-411B-BE91-7AA5D6D0811E}" type="pres">
      <dgm:prSet presAssocID="{496B62AC-547F-4114-819D-C94621BBB125}" presName="hierChild3" presStyleCnt="0"/>
      <dgm:spPr/>
    </dgm:pt>
    <dgm:pt modelId="{37EB02D2-C074-48E6-A02E-5FE0B7ABFD8F}" type="pres">
      <dgm:prSet presAssocID="{78F5A77F-8CEC-4428-96C6-C6618CFBFC59}" presName="Name19" presStyleLbl="parChTrans1D4" presStyleIdx="1" presStyleCnt="8"/>
      <dgm:spPr/>
    </dgm:pt>
    <dgm:pt modelId="{422E831A-9AEF-4891-A7CD-360F1D7A064C}" type="pres">
      <dgm:prSet presAssocID="{8FA76B6F-7DDA-47F0-BB68-815321409A60}" presName="Name21" presStyleCnt="0"/>
      <dgm:spPr/>
    </dgm:pt>
    <dgm:pt modelId="{2DA61532-8B95-4A57-8600-385CBAE32676}" type="pres">
      <dgm:prSet presAssocID="{8FA76B6F-7DDA-47F0-BB68-815321409A60}" presName="level2Shape" presStyleLbl="node4" presStyleIdx="1" presStyleCnt="8"/>
      <dgm:spPr/>
    </dgm:pt>
    <dgm:pt modelId="{B2FD4D7D-4E4B-4EC6-875E-72069BF9ED15}" type="pres">
      <dgm:prSet presAssocID="{8FA76B6F-7DDA-47F0-BB68-815321409A60}" presName="hierChild3" presStyleCnt="0"/>
      <dgm:spPr/>
    </dgm:pt>
    <dgm:pt modelId="{3A24F69E-B741-44C0-8D91-D2BC5A280F65}" type="pres">
      <dgm:prSet presAssocID="{73B85369-6C0F-401B-95E3-5EE852952C3D}" presName="Name19" presStyleLbl="parChTrans1D2" presStyleIdx="1" presStyleCnt="3"/>
      <dgm:spPr/>
    </dgm:pt>
    <dgm:pt modelId="{5156CD1D-5573-41CF-A1FF-817895C253C0}" type="pres">
      <dgm:prSet presAssocID="{63A93EE4-34D3-4D82-836B-6E5AA8FED95F}" presName="Name21" presStyleCnt="0"/>
      <dgm:spPr/>
    </dgm:pt>
    <dgm:pt modelId="{3DBEA836-034E-494E-9781-ADC9FC927960}" type="pres">
      <dgm:prSet presAssocID="{63A93EE4-34D3-4D82-836B-6E5AA8FED95F}" presName="level2Shape" presStyleLbl="node2" presStyleIdx="1" presStyleCnt="3"/>
      <dgm:spPr/>
    </dgm:pt>
    <dgm:pt modelId="{5E40462C-5609-4DDD-95F9-378D4B49C629}" type="pres">
      <dgm:prSet presAssocID="{63A93EE4-34D3-4D82-836B-6E5AA8FED95F}" presName="hierChild3" presStyleCnt="0"/>
      <dgm:spPr/>
    </dgm:pt>
    <dgm:pt modelId="{04D7BF4D-B2BD-44BF-865F-1754F9327F10}" type="pres">
      <dgm:prSet presAssocID="{D8B07E2F-75AC-4836-B92F-28279109AD9E}" presName="Name19" presStyleLbl="parChTrans1D3" presStyleIdx="1" presStyleCnt="5"/>
      <dgm:spPr/>
    </dgm:pt>
    <dgm:pt modelId="{C8E0A68C-C440-4D38-936A-D99812AE25BB}" type="pres">
      <dgm:prSet presAssocID="{09BF193C-3CEB-4832-A69D-44EDDBC471FF}" presName="Name21" presStyleCnt="0"/>
      <dgm:spPr/>
    </dgm:pt>
    <dgm:pt modelId="{5914D664-F061-4572-BC57-0D13160E9AE7}" type="pres">
      <dgm:prSet presAssocID="{09BF193C-3CEB-4832-A69D-44EDDBC471FF}" presName="level2Shape" presStyleLbl="node3" presStyleIdx="1" presStyleCnt="5"/>
      <dgm:spPr/>
    </dgm:pt>
    <dgm:pt modelId="{C60B0D03-AE3C-4CE4-8964-A8F7B18BFD5C}" type="pres">
      <dgm:prSet presAssocID="{09BF193C-3CEB-4832-A69D-44EDDBC471FF}" presName="hierChild3" presStyleCnt="0"/>
      <dgm:spPr/>
    </dgm:pt>
    <dgm:pt modelId="{3419C347-AB86-4C5E-A407-DC03E967E199}" type="pres">
      <dgm:prSet presAssocID="{D90BB766-50E4-481A-BC5D-83838754A5C4}" presName="Name19" presStyleLbl="parChTrans1D4" presStyleIdx="2" presStyleCnt="8"/>
      <dgm:spPr/>
    </dgm:pt>
    <dgm:pt modelId="{D6355FA5-54A2-490E-B76E-C070DA066413}" type="pres">
      <dgm:prSet presAssocID="{8603E966-596B-4A15-957D-D9936BA05A25}" presName="Name21" presStyleCnt="0"/>
      <dgm:spPr/>
    </dgm:pt>
    <dgm:pt modelId="{EF4F25E6-BBCE-4CE1-973D-F4731EA1FB7C}" type="pres">
      <dgm:prSet presAssocID="{8603E966-596B-4A15-957D-D9936BA05A25}" presName="level2Shape" presStyleLbl="node4" presStyleIdx="2" presStyleCnt="8"/>
      <dgm:spPr/>
    </dgm:pt>
    <dgm:pt modelId="{0DDB4F0B-89A3-430A-BBC8-091AC4E4F070}" type="pres">
      <dgm:prSet presAssocID="{8603E966-596B-4A15-957D-D9936BA05A25}" presName="hierChild3" presStyleCnt="0"/>
      <dgm:spPr/>
    </dgm:pt>
    <dgm:pt modelId="{56F96518-BAA9-4BE9-BC4E-79957C0BADA7}" type="pres">
      <dgm:prSet presAssocID="{4F848166-B845-45B1-99D7-E39E8655BA84}" presName="Name19" presStyleLbl="parChTrans1D4" presStyleIdx="3" presStyleCnt="8"/>
      <dgm:spPr/>
    </dgm:pt>
    <dgm:pt modelId="{20DF0AED-78FE-406E-8885-1A7A2E486CA4}" type="pres">
      <dgm:prSet presAssocID="{D9A9B1DA-6D82-4613-8D08-A6861FFCE97B}" presName="Name21" presStyleCnt="0"/>
      <dgm:spPr/>
    </dgm:pt>
    <dgm:pt modelId="{AC950D87-3B0F-4C1A-89EA-3C9582C22205}" type="pres">
      <dgm:prSet presAssocID="{D9A9B1DA-6D82-4613-8D08-A6861FFCE97B}" presName="level2Shape" presStyleLbl="node4" presStyleIdx="3" presStyleCnt="8"/>
      <dgm:spPr/>
    </dgm:pt>
    <dgm:pt modelId="{6E398CE4-7F1D-471F-A55A-825799CC426A}" type="pres">
      <dgm:prSet presAssocID="{D9A9B1DA-6D82-4613-8D08-A6861FFCE97B}" presName="hierChild3" presStyleCnt="0"/>
      <dgm:spPr/>
    </dgm:pt>
    <dgm:pt modelId="{9BBA1BE9-EEA5-4BF4-A6AB-99416DA0B33A}" type="pres">
      <dgm:prSet presAssocID="{D3D52EC5-D1E8-4A11-85BD-344A7A31E664}" presName="Name19" presStyleLbl="parChTrans1D4" presStyleIdx="4" presStyleCnt="8"/>
      <dgm:spPr/>
    </dgm:pt>
    <dgm:pt modelId="{7C6E48AE-15B7-43EB-A3CA-DCEB0C84AE91}" type="pres">
      <dgm:prSet presAssocID="{AAE7428A-52E8-423C-A770-65DF99F89712}" presName="Name21" presStyleCnt="0"/>
      <dgm:spPr/>
    </dgm:pt>
    <dgm:pt modelId="{9BF56E2C-CF4E-4009-8F2A-7075EA1B2E5E}" type="pres">
      <dgm:prSet presAssocID="{AAE7428A-52E8-423C-A770-65DF99F89712}" presName="level2Shape" presStyleLbl="node4" presStyleIdx="4" presStyleCnt="8"/>
      <dgm:spPr/>
    </dgm:pt>
    <dgm:pt modelId="{F1F80137-2004-49BF-9E73-849ABEDC6C3E}" type="pres">
      <dgm:prSet presAssocID="{AAE7428A-52E8-423C-A770-65DF99F89712}" presName="hierChild3" presStyleCnt="0"/>
      <dgm:spPr/>
    </dgm:pt>
    <dgm:pt modelId="{3DF9405E-A28A-4A5E-92F1-547BEB209008}" type="pres">
      <dgm:prSet presAssocID="{33344B1E-7E84-44EA-8BCD-1E221ACA98EE}" presName="Name19" presStyleLbl="parChTrans1D3" presStyleIdx="2" presStyleCnt="5"/>
      <dgm:spPr/>
    </dgm:pt>
    <dgm:pt modelId="{D6202CD3-37E0-4FDC-8596-B37804CF3133}" type="pres">
      <dgm:prSet presAssocID="{9C7D93CA-DC09-4558-A694-42ECA196D7D3}" presName="Name21" presStyleCnt="0"/>
      <dgm:spPr/>
    </dgm:pt>
    <dgm:pt modelId="{30C2F73C-3215-4EC2-96FB-6A82F34C73D5}" type="pres">
      <dgm:prSet presAssocID="{9C7D93CA-DC09-4558-A694-42ECA196D7D3}" presName="level2Shape" presStyleLbl="node3" presStyleIdx="2" presStyleCnt="5"/>
      <dgm:spPr/>
    </dgm:pt>
    <dgm:pt modelId="{BC8781CF-C9FE-4610-8D8E-85BF1DFA931C}" type="pres">
      <dgm:prSet presAssocID="{9C7D93CA-DC09-4558-A694-42ECA196D7D3}" presName="hierChild3" presStyleCnt="0"/>
      <dgm:spPr/>
    </dgm:pt>
    <dgm:pt modelId="{C1E734D0-75EF-4578-865E-083D3E3A86B4}" type="pres">
      <dgm:prSet presAssocID="{64406287-2E1E-4286-8A25-1771E50401DF}" presName="Name19" presStyleLbl="parChTrans1D3" presStyleIdx="3" presStyleCnt="5"/>
      <dgm:spPr/>
    </dgm:pt>
    <dgm:pt modelId="{69B309BF-D37D-416F-A63B-70C52CDC1075}" type="pres">
      <dgm:prSet presAssocID="{7199B73F-B0F6-48CA-B2CA-40B26A3C5528}" presName="Name21" presStyleCnt="0"/>
      <dgm:spPr/>
    </dgm:pt>
    <dgm:pt modelId="{BB29D0C7-7697-4EFC-8CC7-7290495DDE89}" type="pres">
      <dgm:prSet presAssocID="{7199B73F-B0F6-48CA-B2CA-40B26A3C5528}" presName="level2Shape" presStyleLbl="node3" presStyleIdx="3" presStyleCnt="5"/>
      <dgm:spPr/>
    </dgm:pt>
    <dgm:pt modelId="{75D3612B-EF76-49A2-ADA4-4A0DA11895B9}" type="pres">
      <dgm:prSet presAssocID="{7199B73F-B0F6-48CA-B2CA-40B26A3C5528}" presName="hierChild3" presStyleCnt="0"/>
      <dgm:spPr/>
    </dgm:pt>
    <dgm:pt modelId="{9EE950B5-69C2-412E-872A-86DFA65707F6}" type="pres">
      <dgm:prSet presAssocID="{71647466-359C-4739-BB86-A771A6EFF317}" presName="Name19" presStyleLbl="parChTrans1D2" presStyleIdx="2" presStyleCnt="3"/>
      <dgm:spPr/>
    </dgm:pt>
    <dgm:pt modelId="{281D0413-A848-47D5-90DA-6FA1190557F9}" type="pres">
      <dgm:prSet presAssocID="{2416C206-EFD1-43CA-8019-B37B45A2BA1A}" presName="Name21" presStyleCnt="0"/>
      <dgm:spPr/>
    </dgm:pt>
    <dgm:pt modelId="{945E3920-5AE3-486C-B8D8-53C51CE9F734}" type="pres">
      <dgm:prSet presAssocID="{2416C206-EFD1-43CA-8019-B37B45A2BA1A}" presName="level2Shape" presStyleLbl="node2" presStyleIdx="2" presStyleCnt="3"/>
      <dgm:spPr/>
    </dgm:pt>
    <dgm:pt modelId="{87BBDAEF-974B-414C-AFD8-CB68E47D0007}" type="pres">
      <dgm:prSet presAssocID="{2416C206-EFD1-43CA-8019-B37B45A2BA1A}" presName="hierChild3" presStyleCnt="0"/>
      <dgm:spPr/>
    </dgm:pt>
    <dgm:pt modelId="{21B6F477-D416-4357-A8E2-AA55F9399BC6}" type="pres">
      <dgm:prSet presAssocID="{587FCE1A-D27E-4785-A1C2-76A49A478CCE}" presName="Name19" presStyleLbl="parChTrans1D3" presStyleIdx="4" presStyleCnt="5"/>
      <dgm:spPr/>
    </dgm:pt>
    <dgm:pt modelId="{90A5590E-6A70-4D0F-BE2E-DA85D1BE8CB9}" type="pres">
      <dgm:prSet presAssocID="{7FBD44FF-88A3-4422-943D-6F52D836D006}" presName="Name21" presStyleCnt="0"/>
      <dgm:spPr/>
    </dgm:pt>
    <dgm:pt modelId="{6238D7EC-A2FE-40ED-8E12-C92752B1D34E}" type="pres">
      <dgm:prSet presAssocID="{7FBD44FF-88A3-4422-943D-6F52D836D006}" presName="level2Shape" presStyleLbl="node3" presStyleIdx="4" presStyleCnt="5"/>
      <dgm:spPr/>
    </dgm:pt>
    <dgm:pt modelId="{E02F7D10-05CD-4D4F-AB11-B1909A91BC22}" type="pres">
      <dgm:prSet presAssocID="{7FBD44FF-88A3-4422-943D-6F52D836D006}" presName="hierChild3" presStyleCnt="0"/>
      <dgm:spPr/>
    </dgm:pt>
    <dgm:pt modelId="{28E693A8-1A93-4455-B6FD-3943171F9E6C}" type="pres">
      <dgm:prSet presAssocID="{BFA2E79F-3111-4CE0-8D61-D1766DDF62FD}" presName="Name19" presStyleLbl="parChTrans1D4" presStyleIdx="5" presStyleCnt="8"/>
      <dgm:spPr/>
    </dgm:pt>
    <dgm:pt modelId="{F85B931E-69A0-4A20-8A17-ACEC80C06A9E}" type="pres">
      <dgm:prSet presAssocID="{9F264E93-BE01-410C-A847-D353BCB7A768}" presName="Name21" presStyleCnt="0"/>
      <dgm:spPr/>
    </dgm:pt>
    <dgm:pt modelId="{CCB53100-F296-4421-9030-F3DB77A94885}" type="pres">
      <dgm:prSet presAssocID="{9F264E93-BE01-410C-A847-D353BCB7A768}" presName="level2Shape" presStyleLbl="node4" presStyleIdx="5" presStyleCnt="8"/>
      <dgm:spPr/>
    </dgm:pt>
    <dgm:pt modelId="{71F5FA5F-22FE-4761-956C-33A3B319DD10}" type="pres">
      <dgm:prSet presAssocID="{9F264E93-BE01-410C-A847-D353BCB7A768}" presName="hierChild3" presStyleCnt="0"/>
      <dgm:spPr/>
    </dgm:pt>
    <dgm:pt modelId="{7793581A-D626-41D7-A591-3F213C60BC4C}" type="pres">
      <dgm:prSet presAssocID="{34906A0C-A482-401D-824C-A04AEACA8C2E}" presName="Name19" presStyleLbl="parChTrans1D4" presStyleIdx="6" presStyleCnt="8"/>
      <dgm:spPr/>
    </dgm:pt>
    <dgm:pt modelId="{5C28D2F6-81DD-42E4-8748-973ED4375A2E}" type="pres">
      <dgm:prSet presAssocID="{8E27DA7E-A20E-4FAF-9C73-9C317F4A61C3}" presName="Name21" presStyleCnt="0"/>
      <dgm:spPr/>
    </dgm:pt>
    <dgm:pt modelId="{316AC2FC-C061-4D43-A65F-FB98861FB224}" type="pres">
      <dgm:prSet presAssocID="{8E27DA7E-A20E-4FAF-9C73-9C317F4A61C3}" presName="level2Shape" presStyleLbl="node4" presStyleIdx="6" presStyleCnt="8"/>
      <dgm:spPr/>
    </dgm:pt>
    <dgm:pt modelId="{D633AC98-2654-4BF9-9940-93C2B220A6AD}" type="pres">
      <dgm:prSet presAssocID="{8E27DA7E-A20E-4FAF-9C73-9C317F4A61C3}" presName="hierChild3" presStyleCnt="0"/>
      <dgm:spPr/>
    </dgm:pt>
    <dgm:pt modelId="{1DC8A2D3-6AB3-4C94-BF51-4FBD5703FBD6}" type="pres">
      <dgm:prSet presAssocID="{CA52665F-EA39-4670-83F7-2C328855D0CB}" presName="Name19" presStyleLbl="parChTrans1D4" presStyleIdx="7" presStyleCnt="8"/>
      <dgm:spPr/>
    </dgm:pt>
    <dgm:pt modelId="{BA1B3DA5-E300-47A6-8A1D-73C3C3CF0286}" type="pres">
      <dgm:prSet presAssocID="{21D4902A-898A-420F-B2FD-1314527F70EB}" presName="Name21" presStyleCnt="0"/>
      <dgm:spPr/>
    </dgm:pt>
    <dgm:pt modelId="{D035C976-5B88-4561-9A7F-74697192CB5D}" type="pres">
      <dgm:prSet presAssocID="{21D4902A-898A-420F-B2FD-1314527F70EB}" presName="level2Shape" presStyleLbl="node4" presStyleIdx="7" presStyleCnt="8"/>
      <dgm:spPr/>
    </dgm:pt>
    <dgm:pt modelId="{E8D5C82C-1A77-4C57-BDA1-2A89DB55CF14}" type="pres">
      <dgm:prSet presAssocID="{21D4902A-898A-420F-B2FD-1314527F70EB}" presName="hierChild3" presStyleCnt="0"/>
      <dgm:spPr/>
    </dgm:pt>
    <dgm:pt modelId="{331E603D-A4E6-40D6-895A-AB2290E3C60C}" type="pres">
      <dgm:prSet presAssocID="{CE02CFE8-CA39-402B-B426-A91228F54F1C}" presName="bgShapesFlow" presStyleCnt="0"/>
      <dgm:spPr/>
    </dgm:pt>
  </dgm:ptLst>
  <dgm:cxnLst>
    <dgm:cxn modelId="{F9F59201-4FBD-4F6D-97F2-C57E3271C48F}" type="presOf" srcId="{2416C206-EFD1-43CA-8019-B37B45A2BA1A}" destId="{945E3920-5AE3-486C-B8D8-53C51CE9F734}" srcOrd="0" destOrd="0" presId="urn:microsoft.com/office/officeart/2005/8/layout/hierarchy6"/>
    <dgm:cxn modelId="{9A9EE405-83B6-4577-9652-A6E28BF384B1}" srcId="{CE02CFE8-CA39-402B-B426-A91228F54F1C}" destId="{56483AF1-C635-4A4B-A2C5-D80E534BADC5}" srcOrd="0" destOrd="0" parTransId="{C3019227-1575-4642-94D6-DE3C9AA0990C}" sibTransId="{A03458F9-379C-4002-A831-A1983BC92E9E}"/>
    <dgm:cxn modelId="{22C90907-FF2F-49C6-B793-0BCF52C86E4E}" srcId="{D72453B6-1B40-48C3-A2D3-C6000198E162}" destId="{442389D6-4FA4-46DF-A0A1-92051AC36593}" srcOrd="0" destOrd="0" parTransId="{7103902E-A69F-47A2-975A-A000521A02EF}" sibTransId="{64C7C6EE-27E3-487E-86EA-47EB27365CFF}"/>
    <dgm:cxn modelId="{9B6BFE12-C4C4-49FC-BA5E-3F21EFD831D6}" type="presOf" srcId="{CA52665F-EA39-4670-83F7-2C328855D0CB}" destId="{1DC8A2D3-6AB3-4C94-BF51-4FBD5703FBD6}" srcOrd="0" destOrd="0" presId="urn:microsoft.com/office/officeart/2005/8/layout/hierarchy6"/>
    <dgm:cxn modelId="{11FE9517-B0A6-4689-935D-EF0ECF0FB31D}" srcId="{7FBD44FF-88A3-4422-943D-6F52D836D006}" destId="{9F264E93-BE01-410C-A847-D353BCB7A768}" srcOrd="0" destOrd="0" parTransId="{BFA2E79F-3111-4CE0-8D61-D1766DDF62FD}" sibTransId="{788FE24A-22D5-42BF-87E7-86826968ADDD}"/>
    <dgm:cxn modelId="{0242CF17-BEF4-43BE-A3B9-476515D8C5E7}" srcId="{56483AF1-C635-4A4B-A2C5-D80E534BADC5}" destId="{D72453B6-1B40-48C3-A2D3-C6000198E162}" srcOrd="0" destOrd="0" parTransId="{5A42597E-7C44-431A-9CA8-9E2FBD09D033}" sibTransId="{DE5C86DB-C89D-4D69-BB38-40858F2862A3}"/>
    <dgm:cxn modelId="{94016C19-3ADF-41F0-AEC6-898E3DD03668}" type="presOf" srcId="{5A42597E-7C44-431A-9CA8-9E2FBD09D033}" destId="{53DA0C7F-A410-4F3A-A551-31BB8CEAAF35}" srcOrd="0" destOrd="0" presId="urn:microsoft.com/office/officeart/2005/8/layout/hierarchy6"/>
    <dgm:cxn modelId="{A31CBC20-50A2-48D0-BA85-C5759B8ACA0F}" type="presOf" srcId="{7103902E-A69F-47A2-975A-A000521A02EF}" destId="{9A6EA72D-7950-47A3-9563-AA81B9FE237C}" srcOrd="0" destOrd="0" presId="urn:microsoft.com/office/officeart/2005/8/layout/hierarchy6"/>
    <dgm:cxn modelId="{1C246927-D5F2-4B13-B337-A72EFEC2D109}" type="presOf" srcId="{9F264E93-BE01-410C-A847-D353BCB7A768}" destId="{CCB53100-F296-4421-9030-F3DB77A94885}" srcOrd="0" destOrd="0" presId="urn:microsoft.com/office/officeart/2005/8/layout/hierarchy6"/>
    <dgm:cxn modelId="{3861042A-A667-41C6-B2D1-F911F15EA0CF}" srcId="{63A93EE4-34D3-4D82-836B-6E5AA8FED95F}" destId="{9C7D93CA-DC09-4558-A694-42ECA196D7D3}" srcOrd="1" destOrd="0" parTransId="{33344B1E-7E84-44EA-8BCD-1E221ACA98EE}" sibTransId="{A4FF6ED6-8A4E-483C-8C14-3AD9515CE022}"/>
    <dgm:cxn modelId="{B7ACBB2A-1A21-439F-BB01-5143391733F7}" srcId="{9F264E93-BE01-410C-A847-D353BCB7A768}" destId="{21D4902A-898A-420F-B2FD-1314527F70EB}" srcOrd="1" destOrd="0" parTransId="{CA52665F-EA39-4670-83F7-2C328855D0CB}" sibTransId="{55756083-AE59-4E36-AB94-D6038EC8BCF2}"/>
    <dgm:cxn modelId="{77AD482C-CECB-4B8E-8999-05FCD67FEA9B}" type="presOf" srcId="{AAE7428A-52E8-423C-A770-65DF99F89712}" destId="{9BF56E2C-CF4E-4009-8F2A-7075EA1B2E5E}" srcOrd="0" destOrd="0" presId="urn:microsoft.com/office/officeart/2005/8/layout/hierarchy6"/>
    <dgm:cxn modelId="{747AA331-A5C7-4784-B5BB-621004CC9FF5}" type="presOf" srcId="{CE02CFE8-CA39-402B-B426-A91228F54F1C}" destId="{A8B4AD74-FEB7-45B5-96F1-0CA215FDF16E}" srcOrd="0" destOrd="0" presId="urn:microsoft.com/office/officeart/2005/8/layout/hierarchy6"/>
    <dgm:cxn modelId="{05A28B38-9012-4A2F-A458-857667BCB8D1}" type="presOf" srcId="{71647466-359C-4739-BB86-A771A6EFF317}" destId="{9EE950B5-69C2-412E-872A-86DFA65707F6}" srcOrd="0" destOrd="0" presId="urn:microsoft.com/office/officeart/2005/8/layout/hierarchy6"/>
    <dgm:cxn modelId="{8C503E39-B9AE-4D49-9207-EE7ED8CACE23}" type="presOf" srcId="{8A451B00-A16F-4E11-9380-3A4B8E73C259}" destId="{41056A6E-9F86-4F20-B58E-BEBCB3407388}" srcOrd="0" destOrd="0" presId="urn:microsoft.com/office/officeart/2005/8/layout/hierarchy6"/>
    <dgm:cxn modelId="{6F724F3D-B64B-4E49-86BD-0AC6EE224B5E}" type="presOf" srcId="{D90BB766-50E4-481A-BC5D-83838754A5C4}" destId="{3419C347-AB86-4C5E-A407-DC03E967E199}" srcOrd="0" destOrd="0" presId="urn:microsoft.com/office/officeart/2005/8/layout/hierarchy6"/>
    <dgm:cxn modelId="{D613CD61-1FC1-452F-8352-EAA2244D2C49}" type="presOf" srcId="{9C7D93CA-DC09-4558-A694-42ECA196D7D3}" destId="{30C2F73C-3215-4EC2-96FB-6A82F34C73D5}" srcOrd="0" destOrd="0" presId="urn:microsoft.com/office/officeart/2005/8/layout/hierarchy6"/>
    <dgm:cxn modelId="{07B37543-F86D-448B-87F7-833826AC8395}" type="presOf" srcId="{4F848166-B845-45B1-99D7-E39E8655BA84}" destId="{56F96518-BAA9-4BE9-BC4E-79957C0BADA7}" srcOrd="0" destOrd="0" presId="urn:microsoft.com/office/officeart/2005/8/layout/hierarchy6"/>
    <dgm:cxn modelId="{E1F2A043-31A3-4518-980E-37245B7705DA}" srcId="{63A93EE4-34D3-4D82-836B-6E5AA8FED95F}" destId="{09BF193C-3CEB-4832-A69D-44EDDBC471FF}" srcOrd="0" destOrd="0" parTransId="{D8B07E2F-75AC-4836-B92F-28279109AD9E}" sibTransId="{E9730142-F2BA-4308-BF5B-378DC914C18D}"/>
    <dgm:cxn modelId="{069C7066-D3A2-4F2B-9B61-9603ACEE1095}" type="presOf" srcId="{73B85369-6C0F-401B-95E3-5EE852952C3D}" destId="{3A24F69E-B741-44C0-8D91-D2BC5A280F65}" srcOrd="0" destOrd="0" presId="urn:microsoft.com/office/officeart/2005/8/layout/hierarchy6"/>
    <dgm:cxn modelId="{7E349E68-BA8F-4EE5-984B-72EFFEA717DF}" type="presOf" srcId="{78F5A77F-8CEC-4428-96C6-C6618CFBFC59}" destId="{37EB02D2-C074-48E6-A02E-5FE0B7ABFD8F}" srcOrd="0" destOrd="0" presId="urn:microsoft.com/office/officeart/2005/8/layout/hierarchy6"/>
    <dgm:cxn modelId="{6364906C-0693-43FF-8DC4-AA3FE9F32E21}" type="presOf" srcId="{D9A9B1DA-6D82-4613-8D08-A6861FFCE97B}" destId="{AC950D87-3B0F-4C1A-89EA-3C9582C22205}" srcOrd="0" destOrd="0" presId="urn:microsoft.com/office/officeart/2005/8/layout/hierarchy6"/>
    <dgm:cxn modelId="{AB36D74F-1B42-4616-AF85-1717F21F3B46}" srcId="{8603E966-596B-4A15-957D-D9936BA05A25}" destId="{AAE7428A-52E8-423C-A770-65DF99F89712}" srcOrd="1" destOrd="0" parTransId="{D3D52EC5-D1E8-4A11-85BD-344A7A31E664}" sibTransId="{EAB1977C-9EB0-4231-A43B-8CB6977D84D1}"/>
    <dgm:cxn modelId="{AFC51451-0E8B-4DE8-8FAB-80C5843C44E7}" type="presOf" srcId="{7FBD44FF-88A3-4422-943D-6F52D836D006}" destId="{6238D7EC-A2FE-40ED-8E12-C92752B1D34E}" srcOrd="0" destOrd="0" presId="urn:microsoft.com/office/officeart/2005/8/layout/hierarchy6"/>
    <dgm:cxn modelId="{A547C552-54ED-405D-80D2-25A3FD35AEB5}" type="presOf" srcId="{BFA2E79F-3111-4CE0-8D61-D1766DDF62FD}" destId="{28E693A8-1A93-4455-B6FD-3943171F9E6C}" srcOrd="0" destOrd="0" presId="urn:microsoft.com/office/officeart/2005/8/layout/hierarchy6"/>
    <dgm:cxn modelId="{FA4CF974-EA99-44FD-8456-293475E8837F}" type="presOf" srcId="{21D4902A-898A-420F-B2FD-1314527F70EB}" destId="{D035C976-5B88-4561-9A7F-74697192CB5D}" srcOrd="0" destOrd="0" presId="urn:microsoft.com/office/officeart/2005/8/layout/hierarchy6"/>
    <dgm:cxn modelId="{0F8CAD77-91CA-4EC7-BA2D-FD9FAA3B1CF6}" type="presOf" srcId="{09BF193C-3CEB-4832-A69D-44EDDBC471FF}" destId="{5914D664-F061-4572-BC57-0D13160E9AE7}" srcOrd="0" destOrd="0" presId="urn:microsoft.com/office/officeart/2005/8/layout/hierarchy6"/>
    <dgm:cxn modelId="{CE519C86-3274-4B56-8890-89EC6462E43C}" type="presOf" srcId="{D72453B6-1B40-48C3-A2D3-C6000198E162}" destId="{A8EDB877-DFB8-4595-8FB6-9818237BFD04}" srcOrd="0" destOrd="0" presId="urn:microsoft.com/office/officeart/2005/8/layout/hierarchy6"/>
    <dgm:cxn modelId="{DED7A487-104B-4721-B71F-69172EAAFAC1}" type="presOf" srcId="{63A93EE4-34D3-4D82-836B-6E5AA8FED95F}" destId="{3DBEA836-034E-494E-9781-ADC9FC927960}" srcOrd="0" destOrd="0" presId="urn:microsoft.com/office/officeart/2005/8/layout/hierarchy6"/>
    <dgm:cxn modelId="{E9AA918C-94FC-4FF4-89DD-BF5BF49C0C5D}" type="presOf" srcId="{496B62AC-547F-4114-819D-C94621BBB125}" destId="{E7B8E041-27A7-4DC0-B0A8-54E724C58F0D}" srcOrd="0" destOrd="0" presId="urn:microsoft.com/office/officeart/2005/8/layout/hierarchy6"/>
    <dgm:cxn modelId="{D4D08D9A-AE0E-42E6-B569-65F8C1CE7CBA}" srcId="{63A93EE4-34D3-4D82-836B-6E5AA8FED95F}" destId="{7199B73F-B0F6-48CA-B2CA-40B26A3C5528}" srcOrd="2" destOrd="0" parTransId="{64406287-2E1E-4286-8A25-1771E50401DF}" sibTransId="{C26AD03D-07D5-4390-A367-A1AB99E59027}"/>
    <dgm:cxn modelId="{16459FA2-E846-4F3D-A13C-11DB948DAA84}" type="presOf" srcId="{8E27DA7E-A20E-4FAF-9C73-9C317F4A61C3}" destId="{316AC2FC-C061-4D43-A65F-FB98861FB224}" srcOrd="0" destOrd="0" presId="urn:microsoft.com/office/officeart/2005/8/layout/hierarchy6"/>
    <dgm:cxn modelId="{0AC4E4A2-2E9F-42D0-9CE5-23B765F99B86}" type="presOf" srcId="{8FA76B6F-7DDA-47F0-BB68-815321409A60}" destId="{2DA61532-8B95-4A57-8600-385CBAE32676}" srcOrd="0" destOrd="0" presId="urn:microsoft.com/office/officeart/2005/8/layout/hierarchy6"/>
    <dgm:cxn modelId="{BF6DB0AE-796D-4473-ACD2-E7EF1E36A870}" type="presOf" srcId="{D8B07E2F-75AC-4836-B92F-28279109AD9E}" destId="{04D7BF4D-B2BD-44BF-865F-1754F9327F10}" srcOrd="0" destOrd="0" presId="urn:microsoft.com/office/officeart/2005/8/layout/hierarchy6"/>
    <dgm:cxn modelId="{D2281DB0-2449-4ED5-802E-357CB593A5D8}" type="presOf" srcId="{8603E966-596B-4A15-957D-D9936BA05A25}" destId="{EF4F25E6-BBCE-4CE1-973D-F4731EA1FB7C}" srcOrd="0" destOrd="0" presId="urn:microsoft.com/office/officeart/2005/8/layout/hierarchy6"/>
    <dgm:cxn modelId="{256250B5-F29E-45B7-B4DE-A1C83F3F6909}" type="presOf" srcId="{56483AF1-C635-4A4B-A2C5-D80E534BADC5}" destId="{A0D6BC04-172F-4C40-8C56-B34AE3F795C5}" srcOrd="0" destOrd="0" presId="urn:microsoft.com/office/officeart/2005/8/layout/hierarchy6"/>
    <dgm:cxn modelId="{1A4B91B7-7445-4BCA-A62D-0501060F5B90}" type="presOf" srcId="{64406287-2E1E-4286-8A25-1771E50401DF}" destId="{C1E734D0-75EF-4578-865E-083D3E3A86B4}" srcOrd="0" destOrd="0" presId="urn:microsoft.com/office/officeart/2005/8/layout/hierarchy6"/>
    <dgm:cxn modelId="{D9B0FDB8-DED9-4334-BB3C-ECAC906264FD}" srcId="{09BF193C-3CEB-4832-A69D-44EDDBC471FF}" destId="{8603E966-596B-4A15-957D-D9936BA05A25}" srcOrd="0" destOrd="0" parTransId="{D90BB766-50E4-481A-BC5D-83838754A5C4}" sibTransId="{D6BA3976-16F4-4BC9-BC58-F8650E854393}"/>
    <dgm:cxn modelId="{43127BB9-9574-4D94-B389-F19694A7B57B}" srcId="{2416C206-EFD1-43CA-8019-B37B45A2BA1A}" destId="{7FBD44FF-88A3-4422-943D-6F52D836D006}" srcOrd="0" destOrd="0" parTransId="{587FCE1A-D27E-4785-A1C2-76A49A478CCE}" sibTransId="{323473C1-7B74-49F6-816B-6206B40AB414}"/>
    <dgm:cxn modelId="{B9E3CABE-D7AE-422E-8DD3-F8EA51C46CBC}" type="presOf" srcId="{587FCE1A-D27E-4785-A1C2-76A49A478CCE}" destId="{21B6F477-D416-4357-A8E2-AA55F9399BC6}" srcOrd="0" destOrd="0" presId="urn:microsoft.com/office/officeart/2005/8/layout/hierarchy6"/>
    <dgm:cxn modelId="{846A7EC6-D7C9-4DFF-AB9B-C7AAD4F42447}" srcId="{56483AF1-C635-4A4B-A2C5-D80E534BADC5}" destId="{63A93EE4-34D3-4D82-836B-6E5AA8FED95F}" srcOrd="1" destOrd="0" parTransId="{73B85369-6C0F-401B-95E3-5EE852952C3D}" sibTransId="{22A2FA2D-D7F8-4B4E-BAB3-65308F93F773}"/>
    <dgm:cxn modelId="{202785C9-6D6E-4536-BEB8-CAD035762601}" type="presOf" srcId="{442389D6-4FA4-46DF-A0A1-92051AC36593}" destId="{FC5B1BF2-BC6A-407E-BC6D-26BC5ADD1044}" srcOrd="0" destOrd="0" presId="urn:microsoft.com/office/officeart/2005/8/layout/hierarchy6"/>
    <dgm:cxn modelId="{5CB5F2CA-AB64-4C4A-AFC5-43AE98F80E17}" srcId="{442389D6-4FA4-46DF-A0A1-92051AC36593}" destId="{496B62AC-547F-4114-819D-C94621BBB125}" srcOrd="0" destOrd="0" parTransId="{8A451B00-A16F-4E11-9380-3A4B8E73C259}" sibTransId="{C8C81DA2-A0B7-41EF-9708-D744C20A8B60}"/>
    <dgm:cxn modelId="{6E04B3CD-A343-4EA5-8781-7339E9C77F98}" type="presOf" srcId="{34906A0C-A482-401D-824C-A04AEACA8C2E}" destId="{7793581A-D626-41D7-A591-3F213C60BC4C}" srcOrd="0" destOrd="0" presId="urn:microsoft.com/office/officeart/2005/8/layout/hierarchy6"/>
    <dgm:cxn modelId="{8DBB82CE-08F6-40CD-93F6-3E5ECF11CE68}" srcId="{8603E966-596B-4A15-957D-D9936BA05A25}" destId="{D9A9B1DA-6D82-4613-8D08-A6861FFCE97B}" srcOrd="0" destOrd="0" parTransId="{4F848166-B845-45B1-99D7-E39E8655BA84}" sibTransId="{BBDAABF3-E08D-4021-AE50-E60D652BA10D}"/>
    <dgm:cxn modelId="{FA2781D0-F8C4-4832-A5AC-55CE29FB22D2}" srcId="{442389D6-4FA4-46DF-A0A1-92051AC36593}" destId="{8FA76B6F-7DDA-47F0-BB68-815321409A60}" srcOrd="1" destOrd="0" parTransId="{78F5A77F-8CEC-4428-96C6-C6618CFBFC59}" sibTransId="{CB4CB903-AC6C-4838-8290-B540949850BE}"/>
    <dgm:cxn modelId="{2975D3D0-854F-4F59-8E37-FFE2C17174B7}" srcId="{56483AF1-C635-4A4B-A2C5-D80E534BADC5}" destId="{2416C206-EFD1-43CA-8019-B37B45A2BA1A}" srcOrd="2" destOrd="0" parTransId="{71647466-359C-4739-BB86-A771A6EFF317}" sibTransId="{4C2D2401-D959-4B2F-BB05-DA31B58D787B}"/>
    <dgm:cxn modelId="{3574BDE6-8C4A-4502-BDC5-D1564569DBE5}" type="presOf" srcId="{33344B1E-7E84-44EA-8BCD-1E221ACA98EE}" destId="{3DF9405E-A28A-4A5E-92F1-547BEB209008}" srcOrd="0" destOrd="0" presId="urn:microsoft.com/office/officeart/2005/8/layout/hierarchy6"/>
    <dgm:cxn modelId="{BF1FA0E8-2AA4-4524-BD41-49E9C80BC420}" type="presOf" srcId="{D3D52EC5-D1E8-4A11-85BD-344A7A31E664}" destId="{9BBA1BE9-EEA5-4BF4-A6AB-99416DA0B33A}" srcOrd="0" destOrd="0" presId="urn:microsoft.com/office/officeart/2005/8/layout/hierarchy6"/>
    <dgm:cxn modelId="{AE1173EB-F70E-413F-840A-D49C17F15BE1}" srcId="{9F264E93-BE01-410C-A847-D353BCB7A768}" destId="{8E27DA7E-A20E-4FAF-9C73-9C317F4A61C3}" srcOrd="0" destOrd="0" parTransId="{34906A0C-A482-401D-824C-A04AEACA8C2E}" sibTransId="{B2EA2E97-7DFC-477C-BBD1-9E36AD513189}"/>
    <dgm:cxn modelId="{DC894DFC-B8E6-49C1-A57F-A572922A7443}" type="presOf" srcId="{7199B73F-B0F6-48CA-B2CA-40B26A3C5528}" destId="{BB29D0C7-7697-4EFC-8CC7-7290495DDE89}" srcOrd="0" destOrd="0" presId="urn:microsoft.com/office/officeart/2005/8/layout/hierarchy6"/>
    <dgm:cxn modelId="{8E1A49FB-4F63-47CE-9BEE-31A35B644C06}" type="presParOf" srcId="{A8B4AD74-FEB7-45B5-96F1-0CA215FDF16E}" destId="{F0B8296A-156B-4811-97A0-509CFF47D6DC}" srcOrd="0" destOrd="0" presId="urn:microsoft.com/office/officeart/2005/8/layout/hierarchy6"/>
    <dgm:cxn modelId="{AA3F58BB-BBA7-44CA-9775-16397238260A}" type="presParOf" srcId="{F0B8296A-156B-4811-97A0-509CFF47D6DC}" destId="{B0CCB1CE-D09D-43FD-A4AE-A5DA251DCC28}" srcOrd="0" destOrd="0" presId="urn:microsoft.com/office/officeart/2005/8/layout/hierarchy6"/>
    <dgm:cxn modelId="{C2E10947-93E5-41AE-96C0-FB13B0059ACF}" type="presParOf" srcId="{B0CCB1CE-D09D-43FD-A4AE-A5DA251DCC28}" destId="{10FB0190-DD80-4FD5-9DAA-1CA066D2025A}" srcOrd="0" destOrd="0" presId="urn:microsoft.com/office/officeart/2005/8/layout/hierarchy6"/>
    <dgm:cxn modelId="{5A6B46F2-58F8-4B7C-9614-9168F027C462}" type="presParOf" srcId="{10FB0190-DD80-4FD5-9DAA-1CA066D2025A}" destId="{A0D6BC04-172F-4C40-8C56-B34AE3F795C5}" srcOrd="0" destOrd="0" presId="urn:microsoft.com/office/officeart/2005/8/layout/hierarchy6"/>
    <dgm:cxn modelId="{C8D43AAC-FEE3-4088-AF8F-D3A2815F458F}" type="presParOf" srcId="{10FB0190-DD80-4FD5-9DAA-1CA066D2025A}" destId="{3D4FD5A5-2371-4777-80F4-C5EAC4C7D98C}" srcOrd="1" destOrd="0" presId="urn:microsoft.com/office/officeart/2005/8/layout/hierarchy6"/>
    <dgm:cxn modelId="{B9DDA2C8-B3B0-4339-B88C-C9395A1E4CE4}" type="presParOf" srcId="{3D4FD5A5-2371-4777-80F4-C5EAC4C7D98C}" destId="{53DA0C7F-A410-4F3A-A551-31BB8CEAAF35}" srcOrd="0" destOrd="0" presId="urn:microsoft.com/office/officeart/2005/8/layout/hierarchy6"/>
    <dgm:cxn modelId="{39720903-2C2D-41BB-BE34-EF6A95A90F4E}" type="presParOf" srcId="{3D4FD5A5-2371-4777-80F4-C5EAC4C7D98C}" destId="{B2ED7BAE-2987-4978-BF1C-7D3EF95880C8}" srcOrd="1" destOrd="0" presId="urn:microsoft.com/office/officeart/2005/8/layout/hierarchy6"/>
    <dgm:cxn modelId="{CD8971D3-557F-4C54-ACEE-F0E71CC3285C}" type="presParOf" srcId="{B2ED7BAE-2987-4978-BF1C-7D3EF95880C8}" destId="{A8EDB877-DFB8-4595-8FB6-9818237BFD04}" srcOrd="0" destOrd="0" presId="urn:microsoft.com/office/officeart/2005/8/layout/hierarchy6"/>
    <dgm:cxn modelId="{8071401A-5881-435F-82AE-599C2D9A216D}" type="presParOf" srcId="{B2ED7BAE-2987-4978-BF1C-7D3EF95880C8}" destId="{CADF14EF-3DC5-4B01-A196-115E3728D79A}" srcOrd="1" destOrd="0" presId="urn:microsoft.com/office/officeart/2005/8/layout/hierarchy6"/>
    <dgm:cxn modelId="{874E3B5C-BF59-43BD-A507-E4EF9635B18B}" type="presParOf" srcId="{CADF14EF-3DC5-4B01-A196-115E3728D79A}" destId="{9A6EA72D-7950-47A3-9563-AA81B9FE237C}" srcOrd="0" destOrd="0" presId="urn:microsoft.com/office/officeart/2005/8/layout/hierarchy6"/>
    <dgm:cxn modelId="{0CDC3A84-EF52-4CF0-9214-1133948079BA}" type="presParOf" srcId="{CADF14EF-3DC5-4B01-A196-115E3728D79A}" destId="{CB804CD7-A213-4C9B-8FF3-D7822E47946B}" srcOrd="1" destOrd="0" presId="urn:microsoft.com/office/officeart/2005/8/layout/hierarchy6"/>
    <dgm:cxn modelId="{9DB6B20B-FAE5-4B30-BE5C-D255E8812B00}" type="presParOf" srcId="{CB804CD7-A213-4C9B-8FF3-D7822E47946B}" destId="{FC5B1BF2-BC6A-407E-BC6D-26BC5ADD1044}" srcOrd="0" destOrd="0" presId="urn:microsoft.com/office/officeart/2005/8/layout/hierarchy6"/>
    <dgm:cxn modelId="{8B9EB0A7-605D-4849-A7B2-D5F5D09EF2C4}" type="presParOf" srcId="{CB804CD7-A213-4C9B-8FF3-D7822E47946B}" destId="{DCE31B69-BA80-4980-9E2D-AC4A9F23C10C}" srcOrd="1" destOrd="0" presId="urn:microsoft.com/office/officeart/2005/8/layout/hierarchy6"/>
    <dgm:cxn modelId="{FA773DB4-12D2-4BAD-AD56-15E5A16E5AFD}" type="presParOf" srcId="{DCE31B69-BA80-4980-9E2D-AC4A9F23C10C}" destId="{41056A6E-9F86-4F20-B58E-BEBCB3407388}" srcOrd="0" destOrd="0" presId="urn:microsoft.com/office/officeart/2005/8/layout/hierarchy6"/>
    <dgm:cxn modelId="{E57535BF-EDEA-4907-85F0-80B88C1A9456}" type="presParOf" srcId="{DCE31B69-BA80-4980-9E2D-AC4A9F23C10C}" destId="{4A276469-2B8A-4F50-A8F6-2E7B7C1B5049}" srcOrd="1" destOrd="0" presId="urn:microsoft.com/office/officeart/2005/8/layout/hierarchy6"/>
    <dgm:cxn modelId="{83EE187A-14B5-4286-8E6E-2FE1C32949C3}" type="presParOf" srcId="{4A276469-2B8A-4F50-A8F6-2E7B7C1B5049}" destId="{E7B8E041-27A7-4DC0-B0A8-54E724C58F0D}" srcOrd="0" destOrd="0" presId="urn:microsoft.com/office/officeart/2005/8/layout/hierarchy6"/>
    <dgm:cxn modelId="{BFE913AF-B6EF-4D2E-802B-2A2A1C844C38}" type="presParOf" srcId="{4A276469-2B8A-4F50-A8F6-2E7B7C1B5049}" destId="{AA2E27A2-BA63-411B-BE91-7AA5D6D0811E}" srcOrd="1" destOrd="0" presId="urn:microsoft.com/office/officeart/2005/8/layout/hierarchy6"/>
    <dgm:cxn modelId="{B8D979DD-317A-4700-BA72-FA8D53624772}" type="presParOf" srcId="{DCE31B69-BA80-4980-9E2D-AC4A9F23C10C}" destId="{37EB02D2-C074-48E6-A02E-5FE0B7ABFD8F}" srcOrd="2" destOrd="0" presId="urn:microsoft.com/office/officeart/2005/8/layout/hierarchy6"/>
    <dgm:cxn modelId="{1E3137A7-5964-4FFE-A981-1A9195BA83A2}" type="presParOf" srcId="{DCE31B69-BA80-4980-9E2D-AC4A9F23C10C}" destId="{422E831A-9AEF-4891-A7CD-360F1D7A064C}" srcOrd="3" destOrd="0" presId="urn:microsoft.com/office/officeart/2005/8/layout/hierarchy6"/>
    <dgm:cxn modelId="{44912C65-87A3-4EDA-A2AB-CE3CC22BA9AD}" type="presParOf" srcId="{422E831A-9AEF-4891-A7CD-360F1D7A064C}" destId="{2DA61532-8B95-4A57-8600-385CBAE32676}" srcOrd="0" destOrd="0" presId="urn:microsoft.com/office/officeart/2005/8/layout/hierarchy6"/>
    <dgm:cxn modelId="{AD8393E2-7EFC-43F5-B513-46DE99EB1D53}" type="presParOf" srcId="{422E831A-9AEF-4891-A7CD-360F1D7A064C}" destId="{B2FD4D7D-4E4B-4EC6-875E-72069BF9ED15}" srcOrd="1" destOrd="0" presId="urn:microsoft.com/office/officeart/2005/8/layout/hierarchy6"/>
    <dgm:cxn modelId="{E51716C5-6491-40C4-8E8C-852AF02D65A7}" type="presParOf" srcId="{3D4FD5A5-2371-4777-80F4-C5EAC4C7D98C}" destId="{3A24F69E-B741-44C0-8D91-D2BC5A280F65}" srcOrd="2" destOrd="0" presId="urn:microsoft.com/office/officeart/2005/8/layout/hierarchy6"/>
    <dgm:cxn modelId="{3578E907-3AD1-42D7-8A2E-11F1C161FCFD}" type="presParOf" srcId="{3D4FD5A5-2371-4777-80F4-C5EAC4C7D98C}" destId="{5156CD1D-5573-41CF-A1FF-817895C253C0}" srcOrd="3" destOrd="0" presId="urn:microsoft.com/office/officeart/2005/8/layout/hierarchy6"/>
    <dgm:cxn modelId="{FDB342C1-D326-48CE-A037-9FFFE0787179}" type="presParOf" srcId="{5156CD1D-5573-41CF-A1FF-817895C253C0}" destId="{3DBEA836-034E-494E-9781-ADC9FC927960}" srcOrd="0" destOrd="0" presId="urn:microsoft.com/office/officeart/2005/8/layout/hierarchy6"/>
    <dgm:cxn modelId="{77F6C7DF-EF7C-470D-BF10-81221EAF9816}" type="presParOf" srcId="{5156CD1D-5573-41CF-A1FF-817895C253C0}" destId="{5E40462C-5609-4DDD-95F9-378D4B49C629}" srcOrd="1" destOrd="0" presId="urn:microsoft.com/office/officeart/2005/8/layout/hierarchy6"/>
    <dgm:cxn modelId="{7C214B38-540E-4807-959E-836124F2C0A2}" type="presParOf" srcId="{5E40462C-5609-4DDD-95F9-378D4B49C629}" destId="{04D7BF4D-B2BD-44BF-865F-1754F9327F10}" srcOrd="0" destOrd="0" presId="urn:microsoft.com/office/officeart/2005/8/layout/hierarchy6"/>
    <dgm:cxn modelId="{D76BCC09-366D-46F4-BA4E-C917A66395F8}" type="presParOf" srcId="{5E40462C-5609-4DDD-95F9-378D4B49C629}" destId="{C8E0A68C-C440-4D38-936A-D99812AE25BB}" srcOrd="1" destOrd="0" presId="urn:microsoft.com/office/officeart/2005/8/layout/hierarchy6"/>
    <dgm:cxn modelId="{E05FD5C4-530C-4847-B5C1-DA21C0856271}" type="presParOf" srcId="{C8E0A68C-C440-4D38-936A-D99812AE25BB}" destId="{5914D664-F061-4572-BC57-0D13160E9AE7}" srcOrd="0" destOrd="0" presId="urn:microsoft.com/office/officeart/2005/8/layout/hierarchy6"/>
    <dgm:cxn modelId="{4DEF46BA-93A7-4570-9DBB-61ED1B252E4F}" type="presParOf" srcId="{C8E0A68C-C440-4D38-936A-D99812AE25BB}" destId="{C60B0D03-AE3C-4CE4-8964-A8F7B18BFD5C}" srcOrd="1" destOrd="0" presId="urn:microsoft.com/office/officeart/2005/8/layout/hierarchy6"/>
    <dgm:cxn modelId="{0FC985EC-40AF-41AC-876D-315B6C741DE2}" type="presParOf" srcId="{C60B0D03-AE3C-4CE4-8964-A8F7B18BFD5C}" destId="{3419C347-AB86-4C5E-A407-DC03E967E199}" srcOrd="0" destOrd="0" presId="urn:microsoft.com/office/officeart/2005/8/layout/hierarchy6"/>
    <dgm:cxn modelId="{901CB70C-1CD5-4288-A844-9196A06C0758}" type="presParOf" srcId="{C60B0D03-AE3C-4CE4-8964-A8F7B18BFD5C}" destId="{D6355FA5-54A2-490E-B76E-C070DA066413}" srcOrd="1" destOrd="0" presId="urn:microsoft.com/office/officeart/2005/8/layout/hierarchy6"/>
    <dgm:cxn modelId="{76ADED11-9A24-45D2-B74E-83D5F7BFAEFD}" type="presParOf" srcId="{D6355FA5-54A2-490E-B76E-C070DA066413}" destId="{EF4F25E6-BBCE-4CE1-973D-F4731EA1FB7C}" srcOrd="0" destOrd="0" presId="urn:microsoft.com/office/officeart/2005/8/layout/hierarchy6"/>
    <dgm:cxn modelId="{9A74D80C-627D-4C68-8CD8-F2233A21E5C0}" type="presParOf" srcId="{D6355FA5-54A2-490E-B76E-C070DA066413}" destId="{0DDB4F0B-89A3-430A-BBC8-091AC4E4F070}" srcOrd="1" destOrd="0" presId="urn:microsoft.com/office/officeart/2005/8/layout/hierarchy6"/>
    <dgm:cxn modelId="{CEA8CC9A-8B13-4654-989F-C3CEC5DEF0E9}" type="presParOf" srcId="{0DDB4F0B-89A3-430A-BBC8-091AC4E4F070}" destId="{56F96518-BAA9-4BE9-BC4E-79957C0BADA7}" srcOrd="0" destOrd="0" presId="urn:microsoft.com/office/officeart/2005/8/layout/hierarchy6"/>
    <dgm:cxn modelId="{1154CDEE-E44D-4DF8-889C-E4CCCE08FC35}" type="presParOf" srcId="{0DDB4F0B-89A3-430A-BBC8-091AC4E4F070}" destId="{20DF0AED-78FE-406E-8885-1A7A2E486CA4}" srcOrd="1" destOrd="0" presId="urn:microsoft.com/office/officeart/2005/8/layout/hierarchy6"/>
    <dgm:cxn modelId="{EFBE566F-0111-4849-BC23-04D38E1B3DED}" type="presParOf" srcId="{20DF0AED-78FE-406E-8885-1A7A2E486CA4}" destId="{AC950D87-3B0F-4C1A-89EA-3C9582C22205}" srcOrd="0" destOrd="0" presId="urn:microsoft.com/office/officeart/2005/8/layout/hierarchy6"/>
    <dgm:cxn modelId="{D43F8B3B-BB1D-46BA-96F6-970770D3A638}" type="presParOf" srcId="{20DF0AED-78FE-406E-8885-1A7A2E486CA4}" destId="{6E398CE4-7F1D-471F-A55A-825799CC426A}" srcOrd="1" destOrd="0" presId="urn:microsoft.com/office/officeart/2005/8/layout/hierarchy6"/>
    <dgm:cxn modelId="{DF543AB6-B58C-48AC-8519-ED515BA0B1E9}" type="presParOf" srcId="{0DDB4F0B-89A3-430A-BBC8-091AC4E4F070}" destId="{9BBA1BE9-EEA5-4BF4-A6AB-99416DA0B33A}" srcOrd="2" destOrd="0" presId="urn:microsoft.com/office/officeart/2005/8/layout/hierarchy6"/>
    <dgm:cxn modelId="{567479DB-E9C6-4A09-BBD3-C8068B940C9B}" type="presParOf" srcId="{0DDB4F0B-89A3-430A-BBC8-091AC4E4F070}" destId="{7C6E48AE-15B7-43EB-A3CA-DCEB0C84AE91}" srcOrd="3" destOrd="0" presId="urn:microsoft.com/office/officeart/2005/8/layout/hierarchy6"/>
    <dgm:cxn modelId="{87F04A80-9892-4703-89FE-C32E8E1093BD}" type="presParOf" srcId="{7C6E48AE-15B7-43EB-A3CA-DCEB0C84AE91}" destId="{9BF56E2C-CF4E-4009-8F2A-7075EA1B2E5E}" srcOrd="0" destOrd="0" presId="urn:microsoft.com/office/officeart/2005/8/layout/hierarchy6"/>
    <dgm:cxn modelId="{5D379D89-1EF4-4E0E-A65A-987F591338EB}" type="presParOf" srcId="{7C6E48AE-15B7-43EB-A3CA-DCEB0C84AE91}" destId="{F1F80137-2004-49BF-9E73-849ABEDC6C3E}" srcOrd="1" destOrd="0" presId="urn:microsoft.com/office/officeart/2005/8/layout/hierarchy6"/>
    <dgm:cxn modelId="{2F704C2B-638A-4356-819B-81580D5C6094}" type="presParOf" srcId="{5E40462C-5609-4DDD-95F9-378D4B49C629}" destId="{3DF9405E-A28A-4A5E-92F1-547BEB209008}" srcOrd="2" destOrd="0" presId="urn:microsoft.com/office/officeart/2005/8/layout/hierarchy6"/>
    <dgm:cxn modelId="{3D3D530E-3406-459C-91A9-8DCC8B04A55B}" type="presParOf" srcId="{5E40462C-5609-4DDD-95F9-378D4B49C629}" destId="{D6202CD3-37E0-4FDC-8596-B37804CF3133}" srcOrd="3" destOrd="0" presId="urn:microsoft.com/office/officeart/2005/8/layout/hierarchy6"/>
    <dgm:cxn modelId="{78C685A7-7BDA-406A-9E5F-D14D623F00FE}" type="presParOf" srcId="{D6202CD3-37E0-4FDC-8596-B37804CF3133}" destId="{30C2F73C-3215-4EC2-96FB-6A82F34C73D5}" srcOrd="0" destOrd="0" presId="urn:microsoft.com/office/officeart/2005/8/layout/hierarchy6"/>
    <dgm:cxn modelId="{02530E56-E6CE-47B5-B750-19AB3D4D5699}" type="presParOf" srcId="{D6202CD3-37E0-4FDC-8596-B37804CF3133}" destId="{BC8781CF-C9FE-4610-8D8E-85BF1DFA931C}" srcOrd="1" destOrd="0" presId="urn:microsoft.com/office/officeart/2005/8/layout/hierarchy6"/>
    <dgm:cxn modelId="{00430AC6-D760-44E3-A256-D18B77995D67}" type="presParOf" srcId="{5E40462C-5609-4DDD-95F9-378D4B49C629}" destId="{C1E734D0-75EF-4578-865E-083D3E3A86B4}" srcOrd="4" destOrd="0" presId="urn:microsoft.com/office/officeart/2005/8/layout/hierarchy6"/>
    <dgm:cxn modelId="{BB4DD820-A501-4D74-B0D2-2F8015CD116D}" type="presParOf" srcId="{5E40462C-5609-4DDD-95F9-378D4B49C629}" destId="{69B309BF-D37D-416F-A63B-70C52CDC1075}" srcOrd="5" destOrd="0" presId="urn:microsoft.com/office/officeart/2005/8/layout/hierarchy6"/>
    <dgm:cxn modelId="{1BA3B403-32CD-408B-9F31-69B9F7F78D83}" type="presParOf" srcId="{69B309BF-D37D-416F-A63B-70C52CDC1075}" destId="{BB29D0C7-7697-4EFC-8CC7-7290495DDE89}" srcOrd="0" destOrd="0" presId="urn:microsoft.com/office/officeart/2005/8/layout/hierarchy6"/>
    <dgm:cxn modelId="{D8AC8948-8402-467C-86C4-E7AAC3063AEF}" type="presParOf" srcId="{69B309BF-D37D-416F-A63B-70C52CDC1075}" destId="{75D3612B-EF76-49A2-ADA4-4A0DA11895B9}" srcOrd="1" destOrd="0" presId="urn:microsoft.com/office/officeart/2005/8/layout/hierarchy6"/>
    <dgm:cxn modelId="{4D6002F8-EB5B-452E-8DB6-DDD81D222A4E}" type="presParOf" srcId="{3D4FD5A5-2371-4777-80F4-C5EAC4C7D98C}" destId="{9EE950B5-69C2-412E-872A-86DFA65707F6}" srcOrd="4" destOrd="0" presId="urn:microsoft.com/office/officeart/2005/8/layout/hierarchy6"/>
    <dgm:cxn modelId="{04DA333D-8B82-4B6F-A967-EDADE81CE8CE}" type="presParOf" srcId="{3D4FD5A5-2371-4777-80F4-C5EAC4C7D98C}" destId="{281D0413-A848-47D5-90DA-6FA1190557F9}" srcOrd="5" destOrd="0" presId="urn:microsoft.com/office/officeart/2005/8/layout/hierarchy6"/>
    <dgm:cxn modelId="{7E0DAC22-F292-4D8B-83BE-A0FB2CF9E8DE}" type="presParOf" srcId="{281D0413-A848-47D5-90DA-6FA1190557F9}" destId="{945E3920-5AE3-486C-B8D8-53C51CE9F734}" srcOrd="0" destOrd="0" presId="urn:microsoft.com/office/officeart/2005/8/layout/hierarchy6"/>
    <dgm:cxn modelId="{D653B50D-777D-4DAF-89EE-CD49ADFCEAE0}" type="presParOf" srcId="{281D0413-A848-47D5-90DA-6FA1190557F9}" destId="{87BBDAEF-974B-414C-AFD8-CB68E47D0007}" srcOrd="1" destOrd="0" presId="urn:microsoft.com/office/officeart/2005/8/layout/hierarchy6"/>
    <dgm:cxn modelId="{F91F9DAF-EA09-4778-87B8-65D07FB3843B}" type="presParOf" srcId="{87BBDAEF-974B-414C-AFD8-CB68E47D0007}" destId="{21B6F477-D416-4357-A8E2-AA55F9399BC6}" srcOrd="0" destOrd="0" presId="urn:microsoft.com/office/officeart/2005/8/layout/hierarchy6"/>
    <dgm:cxn modelId="{13B5A308-8C44-4549-9C96-CBCC30A2F8F9}" type="presParOf" srcId="{87BBDAEF-974B-414C-AFD8-CB68E47D0007}" destId="{90A5590E-6A70-4D0F-BE2E-DA85D1BE8CB9}" srcOrd="1" destOrd="0" presId="urn:microsoft.com/office/officeart/2005/8/layout/hierarchy6"/>
    <dgm:cxn modelId="{16F68B11-AA87-41D3-8A84-697A881A8F06}" type="presParOf" srcId="{90A5590E-6A70-4D0F-BE2E-DA85D1BE8CB9}" destId="{6238D7EC-A2FE-40ED-8E12-C92752B1D34E}" srcOrd="0" destOrd="0" presId="urn:microsoft.com/office/officeart/2005/8/layout/hierarchy6"/>
    <dgm:cxn modelId="{BBCA3B32-F38A-41F5-9025-17546E42AB85}" type="presParOf" srcId="{90A5590E-6A70-4D0F-BE2E-DA85D1BE8CB9}" destId="{E02F7D10-05CD-4D4F-AB11-B1909A91BC22}" srcOrd="1" destOrd="0" presId="urn:microsoft.com/office/officeart/2005/8/layout/hierarchy6"/>
    <dgm:cxn modelId="{15663C4D-1284-4215-97EF-3E863FA5EFA3}" type="presParOf" srcId="{E02F7D10-05CD-4D4F-AB11-B1909A91BC22}" destId="{28E693A8-1A93-4455-B6FD-3943171F9E6C}" srcOrd="0" destOrd="0" presId="urn:microsoft.com/office/officeart/2005/8/layout/hierarchy6"/>
    <dgm:cxn modelId="{F0CA948A-3819-4F99-9A55-5B8928E1291D}" type="presParOf" srcId="{E02F7D10-05CD-4D4F-AB11-B1909A91BC22}" destId="{F85B931E-69A0-4A20-8A17-ACEC80C06A9E}" srcOrd="1" destOrd="0" presId="urn:microsoft.com/office/officeart/2005/8/layout/hierarchy6"/>
    <dgm:cxn modelId="{69AF7175-6185-46D0-BD1F-B7B190D0E9DB}" type="presParOf" srcId="{F85B931E-69A0-4A20-8A17-ACEC80C06A9E}" destId="{CCB53100-F296-4421-9030-F3DB77A94885}" srcOrd="0" destOrd="0" presId="urn:microsoft.com/office/officeart/2005/8/layout/hierarchy6"/>
    <dgm:cxn modelId="{AD5FF4E5-0AFC-493C-A9D5-83A344C74392}" type="presParOf" srcId="{F85B931E-69A0-4A20-8A17-ACEC80C06A9E}" destId="{71F5FA5F-22FE-4761-956C-33A3B319DD10}" srcOrd="1" destOrd="0" presId="urn:microsoft.com/office/officeart/2005/8/layout/hierarchy6"/>
    <dgm:cxn modelId="{BF620973-BBD7-4920-B7E2-832AD9BB38D1}" type="presParOf" srcId="{71F5FA5F-22FE-4761-956C-33A3B319DD10}" destId="{7793581A-D626-41D7-A591-3F213C60BC4C}" srcOrd="0" destOrd="0" presId="urn:microsoft.com/office/officeart/2005/8/layout/hierarchy6"/>
    <dgm:cxn modelId="{3AF300CB-9022-44F7-AC72-40141C78C069}" type="presParOf" srcId="{71F5FA5F-22FE-4761-956C-33A3B319DD10}" destId="{5C28D2F6-81DD-42E4-8748-973ED4375A2E}" srcOrd="1" destOrd="0" presId="urn:microsoft.com/office/officeart/2005/8/layout/hierarchy6"/>
    <dgm:cxn modelId="{2BB9C849-CDA2-474E-BBF4-083029417D1B}" type="presParOf" srcId="{5C28D2F6-81DD-42E4-8748-973ED4375A2E}" destId="{316AC2FC-C061-4D43-A65F-FB98861FB224}" srcOrd="0" destOrd="0" presId="urn:microsoft.com/office/officeart/2005/8/layout/hierarchy6"/>
    <dgm:cxn modelId="{39FC9F9A-FB11-4B4E-AD10-37E87F24AA91}" type="presParOf" srcId="{5C28D2F6-81DD-42E4-8748-973ED4375A2E}" destId="{D633AC98-2654-4BF9-9940-93C2B220A6AD}" srcOrd="1" destOrd="0" presId="urn:microsoft.com/office/officeart/2005/8/layout/hierarchy6"/>
    <dgm:cxn modelId="{DA7C8247-89EF-49A7-B536-286B708BEA84}" type="presParOf" srcId="{71F5FA5F-22FE-4761-956C-33A3B319DD10}" destId="{1DC8A2D3-6AB3-4C94-BF51-4FBD5703FBD6}" srcOrd="2" destOrd="0" presId="urn:microsoft.com/office/officeart/2005/8/layout/hierarchy6"/>
    <dgm:cxn modelId="{72989C3B-0323-4426-A8B8-E8E821AD6F2B}" type="presParOf" srcId="{71F5FA5F-22FE-4761-956C-33A3B319DD10}" destId="{BA1B3DA5-E300-47A6-8A1D-73C3C3CF0286}" srcOrd="3" destOrd="0" presId="urn:microsoft.com/office/officeart/2005/8/layout/hierarchy6"/>
    <dgm:cxn modelId="{CD71D913-1358-479D-A194-57DFF5501DAD}" type="presParOf" srcId="{BA1B3DA5-E300-47A6-8A1D-73C3C3CF0286}" destId="{D035C976-5B88-4561-9A7F-74697192CB5D}" srcOrd="0" destOrd="0" presId="urn:microsoft.com/office/officeart/2005/8/layout/hierarchy6"/>
    <dgm:cxn modelId="{0836F43C-EBF0-4E23-9D06-C46FCECF7E50}" type="presParOf" srcId="{BA1B3DA5-E300-47A6-8A1D-73C3C3CF0286}" destId="{E8D5C82C-1A77-4C57-BDA1-2A89DB55CF14}" srcOrd="1" destOrd="0" presId="urn:microsoft.com/office/officeart/2005/8/layout/hierarchy6"/>
    <dgm:cxn modelId="{78FAAE06-DE6A-461E-A51F-B79BF125DC85}" type="presParOf" srcId="{A8B4AD74-FEB7-45B5-96F1-0CA215FDF16E}" destId="{331E603D-A4E6-40D6-895A-AB2290E3C60C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E02CFE8-CA39-402B-B426-A91228F54F1C}" type="doc">
      <dgm:prSet loTypeId="urn:microsoft.com/office/officeart/2005/8/layout/hierarchy6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de-DE"/>
        </a:p>
      </dgm:t>
    </dgm:pt>
    <dgm:pt modelId="{56483AF1-C635-4A4B-A2C5-D80E534BADC5}">
      <dgm:prSet phldrT="[Text]"/>
      <dgm:spPr/>
      <dgm:t>
        <a:bodyPr/>
        <a:lstStyle/>
        <a:p>
          <a:r>
            <a:rPr lang="de-DE" dirty="0"/>
            <a:t>SHM (Parameter)</a:t>
          </a:r>
        </a:p>
      </dgm:t>
    </dgm:pt>
    <dgm:pt modelId="{C3019227-1575-4642-94D6-DE3C9AA0990C}" type="parTrans" cxnId="{9A9EE405-83B6-4577-9652-A6E28BF384B1}">
      <dgm:prSet/>
      <dgm:spPr/>
      <dgm:t>
        <a:bodyPr/>
        <a:lstStyle/>
        <a:p>
          <a:endParaRPr lang="de-DE"/>
        </a:p>
      </dgm:t>
    </dgm:pt>
    <dgm:pt modelId="{A03458F9-379C-4002-A831-A1983BC92E9E}" type="sibTrans" cxnId="{9A9EE405-83B6-4577-9652-A6E28BF384B1}">
      <dgm:prSet/>
      <dgm:spPr/>
      <dgm:t>
        <a:bodyPr/>
        <a:lstStyle/>
        <a:p>
          <a:endParaRPr lang="de-DE"/>
        </a:p>
      </dgm:t>
    </dgm:pt>
    <dgm:pt modelId="{8F205B67-3F28-4C36-A479-71D8B59132D6}">
      <dgm:prSet phldrT="[Text]"/>
      <dgm:spPr/>
      <dgm:t>
        <a:bodyPr/>
        <a:lstStyle/>
        <a:p>
          <a:r>
            <a:rPr lang="de-DE" dirty="0" err="1"/>
            <a:t>Checking</a:t>
          </a:r>
          <a:r>
            <a:rPr lang="de-DE" dirty="0"/>
            <a:t> </a:t>
          </a:r>
          <a:r>
            <a:rPr lang="de-DE" dirty="0" err="1"/>
            <a:t>range</a:t>
          </a:r>
          <a:endParaRPr lang="de-DE" dirty="0"/>
        </a:p>
      </dgm:t>
    </dgm:pt>
    <dgm:pt modelId="{86BE0B18-BDDC-472D-B6A3-F66E8EEA4FCB}" type="parTrans" cxnId="{752F5879-25D3-4892-863E-3EFBA5D493EB}">
      <dgm:prSet/>
      <dgm:spPr/>
      <dgm:t>
        <a:bodyPr/>
        <a:lstStyle/>
        <a:p>
          <a:endParaRPr lang="de-DE"/>
        </a:p>
      </dgm:t>
    </dgm:pt>
    <dgm:pt modelId="{938F579D-16F1-479C-BFDA-EDDC0CBE8E96}" type="sibTrans" cxnId="{752F5879-25D3-4892-863E-3EFBA5D493EB}">
      <dgm:prSet/>
      <dgm:spPr/>
      <dgm:t>
        <a:bodyPr/>
        <a:lstStyle/>
        <a:p>
          <a:endParaRPr lang="de-DE"/>
        </a:p>
      </dgm:t>
    </dgm:pt>
    <dgm:pt modelId="{F4B2936D-FFF2-4EFB-8544-CD61840E9F60}">
      <dgm:prSet phldrT="[Text]"/>
      <dgm:spPr/>
      <dgm:t>
        <a:bodyPr/>
        <a:lstStyle/>
        <a:p>
          <a:r>
            <a:rPr lang="de-DE" dirty="0"/>
            <a:t>Offset</a:t>
          </a:r>
        </a:p>
      </dgm:t>
    </dgm:pt>
    <dgm:pt modelId="{666CE29D-4EBA-4917-A952-B9A147597802}" type="parTrans" cxnId="{85C76B0C-7B89-4C00-9D79-D732D5CAA527}">
      <dgm:prSet/>
      <dgm:spPr/>
      <dgm:t>
        <a:bodyPr/>
        <a:lstStyle/>
        <a:p>
          <a:endParaRPr lang="de-DE"/>
        </a:p>
      </dgm:t>
    </dgm:pt>
    <dgm:pt modelId="{E02ECB6A-2AA5-462F-9295-4517EE8C9051}" type="sibTrans" cxnId="{85C76B0C-7B89-4C00-9D79-D732D5CAA527}">
      <dgm:prSet/>
      <dgm:spPr/>
      <dgm:t>
        <a:bodyPr/>
        <a:lstStyle/>
        <a:p>
          <a:endParaRPr lang="de-DE"/>
        </a:p>
      </dgm:t>
    </dgm:pt>
    <dgm:pt modelId="{8C9BA3F4-0E28-48F1-9EA1-EF561C4DF3AA}">
      <dgm:prSet phldrT="[Text]"/>
      <dgm:spPr/>
      <dgm:t>
        <a:bodyPr/>
        <a:lstStyle/>
        <a:p>
          <a:r>
            <a:rPr lang="de-DE" dirty="0"/>
            <a:t>Tag</a:t>
          </a:r>
        </a:p>
      </dgm:t>
    </dgm:pt>
    <dgm:pt modelId="{EEBAB838-E686-4F3B-90BC-D9622CAF25DF}" type="parTrans" cxnId="{D618ED8C-F35A-43D3-B2F3-E8D4E9E7C6F4}">
      <dgm:prSet/>
      <dgm:spPr/>
      <dgm:t>
        <a:bodyPr/>
        <a:lstStyle/>
        <a:p>
          <a:endParaRPr lang="de-DE"/>
        </a:p>
      </dgm:t>
    </dgm:pt>
    <dgm:pt modelId="{920791F8-8C93-4756-A283-5D0B83609681}" type="sibTrans" cxnId="{D618ED8C-F35A-43D3-B2F3-E8D4E9E7C6F4}">
      <dgm:prSet/>
      <dgm:spPr/>
      <dgm:t>
        <a:bodyPr/>
        <a:lstStyle/>
        <a:p>
          <a:endParaRPr lang="de-DE"/>
        </a:p>
      </dgm:t>
    </dgm:pt>
    <dgm:pt modelId="{D13A86F6-59A8-4525-8A38-C784D79A33DC}">
      <dgm:prSet phldrT="[Text]"/>
      <dgm:spPr/>
      <dgm:t>
        <a:bodyPr/>
        <a:lstStyle/>
        <a:p>
          <a:r>
            <a:rPr lang="de-DE" dirty="0" err="1"/>
            <a:t>Suspicious</a:t>
          </a:r>
          <a:r>
            <a:rPr lang="de-DE" dirty="0"/>
            <a:t> </a:t>
          </a:r>
          <a:r>
            <a:rPr lang="de-DE" dirty="0" err="1"/>
            <a:t>values</a:t>
          </a:r>
          <a:endParaRPr lang="de-DE" dirty="0"/>
        </a:p>
      </dgm:t>
    </dgm:pt>
    <dgm:pt modelId="{A7973F9D-439A-4463-9E8A-3E3DEE0572F5}" type="parTrans" cxnId="{4E704574-8DF7-4496-9D19-AB471DD05F4D}">
      <dgm:prSet/>
      <dgm:spPr/>
      <dgm:t>
        <a:bodyPr/>
        <a:lstStyle/>
        <a:p>
          <a:endParaRPr lang="de-DE"/>
        </a:p>
      </dgm:t>
    </dgm:pt>
    <dgm:pt modelId="{D7ADA85C-E3E5-4C56-88BD-64F3E3C24CCA}" type="sibTrans" cxnId="{4E704574-8DF7-4496-9D19-AB471DD05F4D}">
      <dgm:prSet/>
      <dgm:spPr/>
      <dgm:t>
        <a:bodyPr/>
        <a:lstStyle/>
        <a:p>
          <a:endParaRPr lang="de-DE"/>
        </a:p>
      </dgm:t>
    </dgm:pt>
    <dgm:pt modelId="{21671660-DC3B-4860-A658-C51EBEB402CC}">
      <dgm:prSet phldrT="[Text]"/>
      <dgm:spPr/>
      <dgm:t>
        <a:bodyPr/>
        <a:lstStyle/>
        <a:p>
          <a:r>
            <a:rPr lang="de-DE" dirty="0" err="1"/>
            <a:t>Timestamp</a:t>
          </a:r>
          <a:endParaRPr lang="de-DE" dirty="0"/>
        </a:p>
      </dgm:t>
    </dgm:pt>
    <dgm:pt modelId="{4A5A3FDC-5155-4C58-9058-229908A59462}" type="parTrans" cxnId="{176A8505-E872-439C-90D4-78BBDB309716}">
      <dgm:prSet/>
      <dgm:spPr/>
      <dgm:t>
        <a:bodyPr/>
        <a:lstStyle/>
        <a:p>
          <a:endParaRPr lang="de-DE"/>
        </a:p>
      </dgm:t>
    </dgm:pt>
    <dgm:pt modelId="{D5EF9594-8D52-4420-9701-956E666676B9}" type="sibTrans" cxnId="{176A8505-E872-439C-90D4-78BBDB309716}">
      <dgm:prSet/>
      <dgm:spPr/>
      <dgm:t>
        <a:bodyPr/>
        <a:lstStyle/>
        <a:p>
          <a:endParaRPr lang="de-DE"/>
        </a:p>
      </dgm:t>
    </dgm:pt>
    <dgm:pt modelId="{ED5DE42B-56E9-4912-92AC-1ADA75ED9C4F}">
      <dgm:prSet phldrT="[Text]"/>
      <dgm:spPr/>
      <dgm:t>
        <a:bodyPr/>
        <a:lstStyle/>
        <a:p>
          <a:r>
            <a:rPr lang="de-DE" dirty="0"/>
            <a:t>Deviation [%</a:t>
          </a:r>
          <a:r>
            <a:rPr lang="el-GR" dirty="0">
              <a:latin typeface="Times New Roman" panose="02020603050405020304" pitchFamily="18" charset="0"/>
              <a:cs typeface="Times New Roman" panose="02020603050405020304" pitchFamily="18" charset="0"/>
            </a:rPr>
            <a:t>σ</a:t>
          </a:r>
          <a:r>
            <a:rPr lang="de-DE" dirty="0">
              <a:latin typeface="Times New Roman" panose="02020603050405020304" pitchFamily="18" charset="0"/>
              <a:cs typeface="Times New Roman" panose="02020603050405020304" pitchFamily="18" charset="0"/>
            </a:rPr>
            <a:t>]</a:t>
          </a:r>
          <a:endParaRPr lang="de-DE" dirty="0"/>
        </a:p>
      </dgm:t>
    </dgm:pt>
    <dgm:pt modelId="{A9AB9F76-E879-4D2D-A2CF-F6E7A8745167}" type="parTrans" cxnId="{817C3DB0-5421-4EAA-A40D-A9E76B00DC4E}">
      <dgm:prSet/>
      <dgm:spPr/>
      <dgm:t>
        <a:bodyPr/>
        <a:lstStyle/>
        <a:p>
          <a:endParaRPr lang="de-DE"/>
        </a:p>
      </dgm:t>
    </dgm:pt>
    <dgm:pt modelId="{A047CE54-BD69-4C1E-A1CC-4F94853AF0FB}" type="sibTrans" cxnId="{817C3DB0-5421-4EAA-A40D-A9E76B00DC4E}">
      <dgm:prSet/>
      <dgm:spPr/>
      <dgm:t>
        <a:bodyPr/>
        <a:lstStyle/>
        <a:p>
          <a:endParaRPr lang="de-DE"/>
        </a:p>
      </dgm:t>
    </dgm:pt>
    <dgm:pt modelId="{A8B4AD74-FEB7-45B5-96F1-0CA215FDF16E}" type="pres">
      <dgm:prSet presAssocID="{CE02CFE8-CA39-402B-B426-A91228F54F1C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F0B8296A-156B-4811-97A0-509CFF47D6DC}" type="pres">
      <dgm:prSet presAssocID="{CE02CFE8-CA39-402B-B426-A91228F54F1C}" presName="hierFlow" presStyleCnt="0"/>
      <dgm:spPr/>
    </dgm:pt>
    <dgm:pt modelId="{B0CCB1CE-D09D-43FD-A4AE-A5DA251DCC28}" type="pres">
      <dgm:prSet presAssocID="{CE02CFE8-CA39-402B-B426-A91228F54F1C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0FB0190-DD80-4FD5-9DAA-1CA066D2025A}" type="pres">
      <dgm:prSet presAssocID="{56483AF1-C635-4A4B-A2C5-D80E534BADC5}" presName="Name14" presStyleCnt="0"/>
      <dgm:spPr/>
    </dgm:pt>
    <dgm:pt modelId="{A0D6BC04-172F-4C40-8C56-B34AE3F795C5}" type="pres">
      <dgm:prSet presAssocID="{56483AF1-C635-4A4B-A2C5-D80E534BADC5}" presName="level1Shape" presStyleLbl="node0" presStyleIdx="0" presStyleCnt="1">
        <dgm:presLayoutVars>
          <dgm:chPref val="3"/>
        </dgm:presLayoutVars>
      </dgm:prSet>
      <dgm:spPr/>
    </dgm:pt>
    <dgm:pt modelId="{3D4FD5A5-2371-4777-80F4-C5EAC4C7D98C}" type="pres">
      <dgm:prSet presAssocID="{56483AF1-C635-4A4B-A2C5-D80E534BADC5}" presName="hierChild2" presStyleCnt="0"/>
      <dgm:spPr/>
    </dgm:pt>
    <dgm:pt modelId="{F195E220-437A-4530-B96E-5C03B62234DA}" type="pres">
      <dgm:prSet presAssocID="{86BE0B18-BDDC-472D-B6A3-F66E8EEA4FCB}" presName="Name19" presStyleLbl="parChTrans1D2" presStyleIdx="0" presStyleCnt="4"/>
      <dgm:spPr/>
    </dgm:pt>
    <dgm:pt modelId="{31A12EF3-5D4E-4669-9DAD-227D2C42A942}" type="pres">
      <dgm:prSet presAssocID="{8F205B67-3F28-4C36-A479-71D8B59132D6}" presName="Name21" presStyleCnt="0"/>
      <dgm:spPr/>
    </dgm:pt>
    <dgm:pt modelId="{84AFA048-F0B9-41E8-8261-27F25EF55C20}" type="pres">
      <dgm:prSet presAssocID="{8F205B67-3F28-4C36-A479-71D8B59132D6}" presName="level2Shape" presStyleLbl="node2" presStyleIdx="0" presStyleCnt="4"/>
      <dgm:spPr/>
    </dgm:pt>
    <dgm:pt modelId="{D83E7A15-165F-46F3-92AF-C780203AF3F8}" type="pres">
      <dgm:prSet presAssocID="{8F205B67-3F28-4C36-A479-71D8B59132D6}" presName="hierChild3" presStyleCnt="0"/>
      <dgm:spPr/>
    </dgm:pt>
    <dgm:pt modelId="{8C0A3293-9AB5-4D4D-9F0E-671D15FB0DF1}" type="pres">
      <dgm:prSet presAssocID="{666CE29D-4EBA-4917-A952-B9A147597802}" presName="Name19" presStyleLbl="parChTrans1D2" presStyleIdx="1" presStyleCnt="4"/>
      <dgm:spPr/>
    </dgm:pt>
    <dgm:pt modelId="{0F549FAA-BB2D-4400-8F3F-5E339BA3B7EC}" type="pres">
      <dgm:prSet presAssocID="{F4B2936D-FFF2-4EFB-8544-CD61840E9F60}" presName="Name21" presStyleCnt="0"/>
      <dgm:spPr/>
    </dgm:pt>
    <dgm:pt modelId="{4BF60516-A9F3-43E0-8E8F-5841CF51705B}" type="pres">
      <dgm:prSet presAssocID="{F4B2936D-FFF2-4EFB-8544-CD61840E9F60}" presName="level2Shape" presStyleLbl="node2" presStyleIdx="1" presStyleCnt="4"/>
      <dgm:spPr/>
    </dgm:pt>
    <dgm:pt modelId="{2945F7E9-2809-4E3C-B5D8-06454C1BEB31}" type="pres">
      <dgm:prSet presAssocID="{F4B2936D-FFF2-4EFB-8544-CD61840E9F60}" presName="hierChild3" presStyleCnt="0"/>
      <dgm:spPr/>
    </dgm:pt>
    <dgm:pt modelId="{3419C73B-BF66-499E-BA94-CC9F693860E7}" type="pres">
      <dgm:prSet presAssocID="{EEBAB838-E686-4F3B-90BC-D9622CAF25DF}" presName="Name19" presStyleLbl="parChTrans1D2" presStyleIdx="2" presStyleCnt="4"/>
      <dgm:spPr/>
    </dgm:pt>
    <dgm:pt modelId="{AF750F32-A8FD-4CAF-8B49-CE7DB5FF949A}" type="pres">
      <dgm:prSet presAssocID="{8C9BA3F4-0E28-48F1-9EA1-EF561C4DF3AA}" presName="Name21" presStyleCnt="0"/>
      <dgm:spPr/>
    </dgm:pt>
    <dgm:pt modelId="{8EF9E161-FE1F-403D-A1BE-848619B819B5}" type="pres">
      <dgm:prSet presAssocID="{8C9BA3F4-0E28-48F1-9EA1-EF561C4DF3AA}" presName="level2Shape" presStyleLbl="node2" presStyleIdx="2" presStyleCnt="4"/>
      <dgm:spPr/>
    </dgm:pt>
    <dgm:pt modelId="{CFF1564B-A276-433A-B88B-13D4F00246E8}" type="pres">
      <dgm:prSet presAssocID="{8C9BA3F4-0E28-48F1-9EA1-EF561C4DF3AA}" presName="hierChild3" presStyleCnt="0"/>
      <dgm:spPr/>
    </dgm:pt>
    <dgm:pt modelId="{C209985A-1FFF-4ADA-B0EC-81031CA24642}" type="pres">
      <dgm:prSet presAssocID="{A7973F9D-439A-4463-9E8A-3E3DEE0572F5}" presName="Name19" presStyleLbl="parChTrans1D2" presStyleIdx="3" presStyleCnt="4"/>
      <dgm:spPr/>
    </dgm:pt>
    <dgm:pt modelId="{FCDEB6C4-8442-4B80-BE9A-075E9D782AEB}" type="pres">
      <dgm:prSet presAssocID="{D13A86F6-59A8-4525-8A38-C784D79A33DC}" presName="Name21" presStyleCnt="0"/>
      <dgm:spPr/>
    </dgm:pt>
    <dgm:pt modelId="{FEA990BC-84DD-4472-8827-152B7755080B}" type="pres">
      <dgm:prSet presAssocID="{D13A86F6-59A8-4525-8A38-C784D79A33DC}" presName="level2Shape" presStyleLbl="node2" presStyleIdx="3" presStyleCnt="4"/>
      <dgm:spPr/>
    </dgm:pt>
    <dgm:pt modelId="{3DDBBDCB-D90F-4A61-A59C-1ECA1E15E0DC}" type="pres">
      <dgm:prSet presAssocID="{D13A86F6-59A8-4525-8A38-C784D79A33DC}" presName="hierChild3" presStyleCnt="0"/>
      <dgm:spPr/>
    </dgm:pt>
    <dgm:pt modelId="{F053E5D6-7748-4AEB-A7F7-5812AA0914DF}" type="pres">
      <dgm:prSet presAssocID="{4A5A3FDC-5155-4C58-9058-229908A59462}" presName="Name19" presStyleLbl="parChTrans1D3" presStyleIdx="0" presStyleCnt="2"/>
      <dgm:spPr/>
    </dgm:pt>
    <dgm:pt modelId="{8B6EB325-0955-4016-BA40-06A7299627E9}" type="pres">
      <dgm:prSet presAssocID="{21671660-DC3B-4860-A658-C51EBEB402CC}" presName="Name21" presStyleCnt="0"/>
      <dgm:spPr/>
    </dgm:pt>
    <dgm:pt modelId="{B7D799F4-512B-41F0-92E7-D1B9EBF394ED}" type="pres">
      <dgm:prSet presAssocID="{21671660-DC3B-4860-A658-C51EBEB402CC}" presName="level2Shape" presStyleLbl="node3" presStyleIdx="0" presStyleCnt="2"/>
      <dgm:spPr/>
    </dgm:pt>
    <dgm:pt modelId="{9A7D26BA-2484-48B9-AC63-1E61A65EB9BE}" type="pres">
      <dgm:prSet presAssocID="{21671660-DC3B-4860-A658-C51EBEB402CC}" presName="hierChild3" presStyleCnt="0"/>
      <dgm:spPr/>
    </dgm:pt>
    <dgm:pt modelId="{5055BF9E-BD21-46B2-B104-77045B1F39B4}" type="pres">
      <dgm:prSet presAssocID="{A9AB9F76-E879-4D2D-A2CF-F6E7A8745167}" presName="Name19" presStyleLbl="parChTrans1D3" presStyleIdx="1" presStyleCnt="2"/>
      <dgm:spPr/>
    </dgm:pt>
    <dgm:pt modelId="{70189032-0B6F-413B-BC38-121E14337783}" type="pres">
      <dgm:prSet presAssocID="{ED5DE42B-56E9-4912-92AC-1ADA75ED9C4F}" presName="Name21" presStyleCnt="0"/>
      <dgm:spPr/>
    </dgm:pt>
    <dgm:pt modelId="{1A625409-AA07-4064-ABC0-B45A141F704A}" type="pres">
      <dgm:prSet presAssocID="{ED5DE42B-56E9-4912-92AC-1ADA75ED9C4F}" presName="level2Shape" presStyleLbl="node3" presStyleIdx="1" presStyleCnt="2"/>
      <dgm:spPr/>
    </dgm:pt>
    <dgm:pt modelId="{E5693F97-8F11-4F13-B48D-E76C644DD987}" type="pres">
      <dgm:prSet presAssocID="{ED5DE42B-56E9-4912-92AC-1ADA75ED9C4F}" presName="hierChild3" presStyleCnt="0"/>
      <dgm:spPr/>
    </dgm:pt>
    <dgm:pt modelId="{331E603D-A4E6-40D6-895A-AB2290E3C60C}" type="pres">
      <dgm:prSet presAssocID="{CE02CFE8-CA39-402B-B426-A91228F54F1C}" presName="bgShapesFlow" presStyleCnt="0"/>
      <dgm:spPr/>
    </dgm:pt>
  </dgm:ptLst>
  <dgm:cxnLst>
    <dgm:cxn modelId="{176A8505-E872-439C-90D4-78BBDB309716}" srcId="{D13A86F6-59A8-4525-8A38-C784D79A33DC}" destId="{21671660-DC3B-4860-A658-C51EBEB402CC}" srcOrd="0" destOrd="0" parTransId="{4A5A3FDC-5155-4C58-9058-229908A59462}" sibTransId="{D5EF9594-8D52-4420-9701-956E666676B9}"/>
    <dgm:cxn modelId="{9A9EE405-83B6-4577-9652-A6E28BF384B1}" srcId="{CE02CFE8-CA39-402B-B426-A91228F54F1C}" destId="{56483AF1-C635-4A4B-A2C5-D80E534BADC5}" srcOrd="0" destOrd="0" parTransId="{C3019227-1575-4642-94D6-DE3C9AA0990C}" sibTransId="{A03458F9-379C-4002-A831-A1983BC92E9E}"/>
    <dgm:cxn modelId="{A61A0E0B-53DA-4631-93E1-FCB1486A794C}" type="presOf" srcId="{A9AB9F76-E879-4D2D-A2CF-F6E7A8745167}" destId="{5055BF9E-BD21-46B2-B104-77045B1F39B4}" srcOrd="0" destOrd="0" presId="urn:microsoft.com/office/officeart/2005/8/layout/hierarchy6"/>
    <dgm:cxn modelId="{85C76B0C-7B89-4C00-9D79-D732D5CAA527}" srcId="{56483AF1-C635-4A4B-A2C5-D80E534BADC5}" destId="{F4B2936D-FFF2-4EFB-8544-CD61840E9F60}" srcOrd="1" destOrd="0" parTransId="{666CE29D-4EBA-4917-A952-B9A147597802}" sibTransId="{E02ECB6A-2AA5-462F-9295-4517EE8C9051}"/>
    <dgm:cxn modelId="{FFE1D01B-8618-4FE7-808B-B2E98811709B}" type="presOf" srcId="{8F205B67-3F28-4C36-A479-71D8B59132D6}" destId="{84AFA048-F0B9-41E8-8261-27F25EF55C20}" srcOrd="0" destOrd="0" presId="urn:microsoft.com/office/officeart/2005/8/layout/hierarchy6"/>
    <dgm:cxn modelId="{90F4BC28-BD18-4F4F-9E79-94356987B2BD}" type="presOf" srcId="{EEBAB838-E686-4F3B-90BC-D9622CAF25DF}" destId="{3419C73B-BF66-499E-BA94-CC9F693860E7}" srcOrd="0" destOrd="0" presId="urn:microsoft.com/office/officeart/2005/8/layout/hierarchy6"/>
    <dgm:cxn modelId="{747AA331-A5C7-4784-B5BB-621004CC9FF5}" type="presOf" srcId="{CE02CFE8-CA39-402B-B426-A91228F54F1C}" destId="{A8B4AD74-FEB7-45B5-96F1-0CA215FDF16E}" srcOrd="0" destOrd="0" presId="urn:microsoft.com/office/officeart/2005/8/layout/hierarchy6"/>
    <dgm:cxn modelId="{8F33A960-22EC-474F-9FAF-0844ACE86478}" type="presOf" srcId="{21671660-DC3B-4860-A658-C51EBEB402CC}" destId="{B7D799F4-512B-41F0-92E7-D1B9EBF394ED}" srcOrd="0" destOrd="0" presId="urn:microsoft.com/office/officeart/2005/8/layout/hierarchy6"/>
    <dgm:cxn modelId="{E5A9CA6A-05E0-482E-A566-369B0D403E64}" type="presOf" srcId="{A7973F9D-439A-4463-9E8A-3E3DEE0572F5}" destId="{C209985A-1FFF-4ADA-B0EC-81031CA24642}" srcOrd="0" destOrd="0" presId="urn:microsoft.com/office/officeart/2005/8/layout/hierarchy6"/>
    <dgm:cxn modelId="{4E704574-8DF7-4496-9D19-AB471DD05F4D}" srcId="{56483AF1-C635-4A4B-A2C5-D80E534BADC5}" destId="{D13A86F6-59A8-4525-8A38-C784D79A33DC}" srcOrd="3" destOrd="0" parTransId="{A7973F9D-439A-4463-9E8A-3E3DEE0572F5}" sibTransId="{D7ADA85C-E3E5-4C56-88BD-64F3E3C24CCA}"/>
    <dgm:cxn modelId="{752F5879-25D3-4892-863E-3EFBA5D493EB}" srcId="{56483AF1-C635-4A4B-A2C5-D80E534BADC5}" destId="{8F205B67-3F28-4C36-A479-71D8B59132D6}" srcOrd="0" destOrd="0" parTransId="{86BE0B18-BDDC-472D-B6A3-F66E8EEA4FCB}" sibTransId="{938F579D-16F1-479C-BFDA-EDDC0CBE8E96}"/>
    <dgm:cxn modelId="{C8549C81-18A4-48B6-80F1-906E5FF3D395}" type="presOf" srcId="{8C9BA3F4-0E28-48F1-9EA1-EF561C4DF3AA}" destId="{8EF9E161-FE1F-403D-A1BE-848619B819B5}" srcOrd="0" destOrd="0" presId="urn:microsoft.com/office/officeart/2005/8/layout/hierarchy6"/>
    <dgm:cxn modelId="{D618ED8C-F35A-43D3-B2F3-E8D4E9E7C6F4}" srcId="{56483AF1-C635-4A4B-A2C5-D80E534BADC5}" destId="{8C9BA3F4-0E28-48F1-9EA1-EF561C4DF3AA}" srcOrd="2" destOrd="0" parTransId="{EEBAB838-E686-4F3B-90BC-D9622CAF25DF}" sibTransId="{920791F8-8C93-4756-A283-5D0B83609681}"/>
    <dgm:cxn modelId="{EE9EC9A5-9B2B-410A-A3D1-190DB2533E48}" type="presOf" srcId="{F4B2936D-FFF2-4EFB-8544-CD61840E9F60}" destId="{4BF60516-A9F3-43E0-8E8F-5841CF51705B}" srcOrd="0" destOrd="0" presId="urn:microsoft.com/office/officeart/2005/8/layout/hierarchy6"/>
    <dgm:cxn modelId="{817C3DB0-5421-4EAA-A40D-A9E76B00DC4E}" srcId="{D13A86F6-59A8-4525-8A38-C784D79A33DC}" destId="{ED5DE42B-56E9-4912-92AC-1ADA75ED9C4F}" srcOrd="1" destOrd="0" parTransId="{A9AB9F76-E879-4D2D-A2CF-F6E7A8745167}" sibTransId="{A047CE54-BD69-4C1E-A1CC-4F94853AF0FB}"/>
    <dgm:cxn modelId="{256250B5-F29E-45B7-B4DE-A1C83F3F6909}" type="presOf" srcId="{56483AF1-C635-4A4B-A2C5-D80E534BADC5}" destId="{A0D6BC04-172F-4C40-8C56-B34AE3F795C5}" srcOrd="0" destOrd="0" presId="urn:microsoft.com/office/officeart/2005/8/layout/hierarchy6"/>
    <dgm:cxn modelId="{84ED7FCB-8DF1-4113-9041-FCE9938040C2}" type="presOf" srcId="{ED5DE42B-56E9-4912-92AC-1ADA75ED9C4F}" destId="{1A625409-AA07-4064-ABC0-B45A141F704A}" srcOrd="0" destOrd="0" presId="urn:microsoft.com/office/officeart/2005/8/layout/hierarchy6"/>
    <dgm:cxn modelId="{33397AE1-A5F4-42DB-B573-187D28EAB500}" type="presOf" srcId="{666CE29D-4EBA-4917-A952-B9A147597802}" destId="{8C0A3293-9AB5-4D4D-9F0E-671D15FB0DF1}" srcOrd="0" destOrd="0" presId="urn:microsoft.com/office/officeart/2005/8/layout/hierarchy6"/>
    <dgm:cxn modelId="{C25031E8-A522-480F-B504-A7E224E6536D}" type="presOf" srcId="{D13A86F6-59A8-4525-8A38-C784D79A33DC}" destId="{FEA990BC-84DD-4472-8827-152B7755080B}" srcOrd="0" destOrd="0" presId="urn:microsoft.com/office/officeart/2005/8/layout/hierarchy6"/>
    <dgm:cxn modelId="{5CFB74E8-6CA9-47C6-B8AA-0426197BE2B4}" type="presOf" srcId="{4A5A3FDC-5155-4C58-9058-229908A59462}" destId="{F053E5D6-7748-4AEB-A7F7-5812AA0914DF}" srcOrd="0" destOrd="0" presId="urn:microsoft.com/office/officeart/2005/8/layout/hierarchy6"/>
    <dgm:cxn modelId="{6DA678EB-B0D2-44D9-9E3F-3958A2A2197E}" type="presOf" srcId="{86BE0B18-BDDC-472D-B6A3-F66E8EEA4FCB}" destId="{F195E220-437A-4530-B96E-5C03B62234DA}" srcOrd="0" destOrd="0" presId="urn:microsoft.com/office/officeart/2005/8/layout/hierarchy6"/>
    <dgm:cxn modelId="{8E1A49FB-4F63-47CE-9BEE-31A35B644C06}" type="presParOf" srcId="{A8B4AD74-FEB7-45B5-96F1-0CA215FDF16E}" destId="{F0B8296A-156B-4811-97A0-509CFF47D6DC}" srcOrd="0" destOrd="0" presId="urn:microsoft.com/office/officeart/2005/8/layout/hierarchy6"/>
    <dgm:cxn modelId="{AA3F58BB-BBA7-44CA-9775-16397238260A}" type="presParOf" srcId="{F0B8296A-156B-4811-97A0-509CFF47D6DC}" destId="{B0CCB1CE-D09D-43FD-A4AE-A5DA251DCC28}" srcOrd="0" destOrd="0" presId="urn:microsoft.com/office/officeart/2005/8/layout/hierarchy6"/>
    <dgm:cxn modelId="{C2E10947-93E5-41AE-96C0-FB13B0059ACF}" type="presParOf" srcId="{B0CCB1CE-D09D-43FD-A4AE-A5DA251DCC28}" destId="{10FB0190-DD80-4FD5-9DAA-1CA066D2025A}" srcOrd="0" destOrd="0" presId="urn:microsoft.com/office/officeart/2005/8/layout/hierarchy6"/>
    <dgm:cxn modelId="{5A6B46F2-58F8-4B7C-9614-9168F027C462}" type="presParOf" srcId="{10FB0190-DD80-4FD5-9DAA-1CA066D2025A}" destId="{A0D6BC04-172F-4C40-8C56-B34AE3F795C5}" srcOrd="0" destOrd="0" presId="urn:microsoft.com/office/officeart/2005/8/layout/hierarchy6"/>
    <dgm:cxn modelId="{C8D43AAC-FEE3-4088-AF8F-D3A2815F458F}" type="presParOf" srcId="{10FB0190-DD80-4FD5-9DAA-1CA066D2025A}" destId="{3D4FD5A5-2371-4777-80F4-C5EAC4C7D98C}" srcOrd="1" destOrd="0" presId="urn:microsoft.com/office/officeart/2005/8/layout/hierarchy6"/>
    <dgm:cxn modelId="{EA364243-0063-4907-86B4-9897E4DD4A19}" type="presParOf" srcId="{3D4FD5A5-2371-4777-80F4-C5EAC4C7D98C}" destId="{F195E220-437A-4530-B96E-5C03B62234DA}" srcOrd="0" destOrd="0" presId="urn:microsoft.com/office/officeart/2005/8/layout/hierarchy6"/>
    <dgm:cxn modelId="{4A20BDC6-D451-4D69-B61A-6F30D90C29E6}" type="presParOf" srcId="{3D4FD5A5-2371-4777-80F4-C5EAC4C7D98C}" destId="{31A12EF3-5D4E-4669-9DAD-227D2C42A942}" srcOrd="1" destOrd="0" presId="urn:microsoft.com/office/officeart/2005/8/layout/hierarchy6"/>
    <dgm:cxn modelId="{5AF257FD-887A-4E55-976B-709FC21470B8}" type="presParOf" srcId="{31A12EF3-5D4E-4669-9DAD-227D2C42A942}" destId="{84AFA048-F0B9-41E8-8261-27F25EF55C20}" srcOrd="0" destOrd="0" presId="urn:microsoft.com/office/officeart/2005/8/layout/hierarchy6"/>
    <dgm:cxn modelId="{E42BFB26-9BD2-4307-9B1C-B557FEC5FE35}" type="presParOf" srcId="{31A12EF3-5D4E-4669-9DAD-227D2C42A942}" destId="{D83E7A15-165F-46F3-92AF-C780203AF3F8}" srcOrd="1" destOrd="0" presId="urn:microsoft.com/office/officeart/2005/8/layout/hierarchy6"/>
    <dgm:cxn modelId="{6D38D951-84B2-484C-B4D6-25582FC9B018}" type="presParOf" srcId="{3D4FD5A5-2371-4777-80F4-C5EAC4C7D98C}" destId="{8C0A3293-9AB5-4D4D-9F0E-671D15FB0DF1}" srcOrd="2" destOrd="0" presId="urn:microsoft.com/office/officeart/2005/8/layout/hierarchy6"/>
    <dgm:cxn modelId="{90ECF57A-4D9F-49AA-9413-11FFEDB00566}" type="presParOf" srcId="{3D4FD5A5-2371-4777-80F4-C5EAC4C7D98C}" destId="{0F549FAA-BB2D-4400-8F3F-5E339BA3B7EC}" srcOrd="3" destOrd="0" presId="urn:microsoft.com/office/officeart/2005/8/layout/hierarchy6"/>
    <dgm:cxn modelId="{E40247DC-377C-4705-9B0A-FE4C7D7C51BD}" type="presParOf" srcId="{0F549FAA-BB2D-4400-8F3F-5E339BA3B7EC}" destId="{4BF60516-A9F3-43E0-8E8F-5841CF51705B}" srcOrd="0" destOrd="0" presId="urn:microsoft.com/office/officeart/2005/8/layout/hierarchy6"/>
    <dgm:cxn modelId="{28819355-0396-448F-888A-A459E791735E}" type="presParOf" srcId="{0F549FAA-BB2D-4400-8F3F-5E339BA3B7EC}" destId="{2945F7E9-2809-4E3C-B5D8-06454C1BEB31}" srcOrd="1" destOrd="0" presId="urn:microsoft.com/office/officeart/2005/8/layout/hierarchy6"/>
    <dgm:cxn modelId="{0524BA0C-E6BD-4954-9F39-1D0571B6EA7B}" type="presParOf" srcId="{3D4FD5A5-2371-4777-80F4-C5EAC4C7D98C}" destId="{3419C73B-BF66-499E-BA94-CC9F693860E7}" srcOrd="4" destOrd="0" presId="urn:microsoft.com/office/officeart/2005/8/layout/hierarchy6"/>
    <dgm:cxn modelId="{EE9AAD35-90C2-4171-BD68-F00BF13665AB}" type="presParOf" srcId="{3D4FD5A5-2371-4777-80F4-C5EAC4C7D98C}" destId="{AF750F32-A8FD-4CAF-8B49-CE7DB5FF949A}" srcOrd="5" destOrd="0" presId="urn:microsoft.com/office/officeart/2005/8/layout/hierarchy6"/>
    <dgm:cxn modelId="{E253B29D-7CF0-4251-8FA5-07DD745F65D9}" type="presParOf" srcId="{AF750F32-A8FD-4CAF-8B49-CE7DB5FF949A}" destId="{8EF9E161-FE1F-403D-A1BE-848619B819B5}" srcOrd="0" destOrd="0" presId="urn:microsoft.com/office/officeart/2005/8/layout/hierarchy6"/>
    <dgm:cxn modelId="{DFAF2C2A-2F13-475A-B5C7-28AC0DEE6DCA}" type="presParOf" srcId="{AF750F32-A8FD-4CAF-8B49-CE7DB5FF949A}" destId="{CFF1564B-A276-433A-B88B-13D4F00246E8}" srcOrd="1" destOrd="0" presId="urn:microsoft.com/office/officeart/2005/8/layout/hierarchy6"/>
    <dgm:cxn modelId="{0127642A-52B6-4938-BBEC-6B21474E9C79}" type="presParOf" srcId="{3D4FD5A5-2371-4777-80F4-C5EAC4C7D98C}" destId="{C209985A-1FFF-4ADA-B0EC-81031CA24642}" srcOrd="6" destOrd="0" presId="urn:microsoft.com/office/officeart/2005/8/layout/hierarchy6"/>
    <dgm:cxn modelId="{AF48F118-08DA-4E85-8A04-0BE8F0D3902F}" type="presParOf" srcId="{3D4FD5A5-2371-4777-80F4-C5EAC4C7D98C}" destId="{FCDEB6C4-8442-4B80-BE9A-075E9D782AEB}" srcOrd="7" destOrd="0" presId="urn:microsoft.com/office/officeart/2005/8/layout/hierarchy6"/>
    <dgm:cxn modelId="{E0F91853-6A0E-4C95-BC40-D0840411DBDD}" type="presParOf" srcId="{FCDEB6C4-8442-4B80-BE9A-075E9D782AEB}" destId="{FEA990BC-84DD-4472-8827-152B7755080B}" srcOrd="0" destOrd="0" presId="urn:microsoft.com/office/officeart/2005/8/layout/hierarchy6"/>
    <dgm:cxn modelId="{EFFC2BE4-9064-480B-8182-19FAB17D8FBA}" type="presParOf" srcId="{FCDEB6C4-8442-4B80-BE9A-075E9D782AEB}" destId="{3DDBBDCB-D90F-4A61-A59C-1ECA1E15E0DC}" srcOrd="1" destOrd="0" presId="urn:microsoft.com/office/officeart/2005/8/layout/hierarchy6"/>
    <dgm:cxn modelId="{7D4474FF-824E-425F-B268-D0312F2B95EF}" type="presParOf" srcId="{3DDBBDCB-D90F-4A61-A59C-1ECA1E15E0DC}" destId="{F053E5D6-7748-4AEB-A7F7-5812AA0914DF}" srcOrd="0" destOrd="0" presId="urn:microsoft.com/office/officeart/2005/8/layout/hierarchy6"/>
    <dgm:cxn modelId="{9DE315B0-E412-4730-81BC-18BADFB5551C}" type="presParOf" srcId="{3DDBBDCB-D90F-4A61-A59C-1ECA1E15E0DC}" destId="{8B6EB325-0955-4016-BA40-06A7299627E9}" srcOrd="1" destOrd="0" presId="urn:microsoft.com/office/officeart/2005/8/layout/hierarchy6"/>
    <dgm:cxn modelId="{6899DA58-3525-46C4-A04C-10A844582E1C}" type="presParOf" srcId="{8B6EB325-0955-4016-BA40-06A7299627E9}" destId="{B7D799F4-512B-41F0-92E7-D1B9EBF394ED}" srcOrd="0" destOrd="0" presId="urn:microsoft.com/office/officeart/2005/8/layout/hierarchy6"/>
    <dgm:cxn modelId="{6B681AF1-601D-4B3B-BDBE-0241147F6E3A}" type="presParOf" srcId="{8B6EB325-0955-4016-BA40-06A7299627E9}" destId="{9A7D26BA-2484-48B9-AC63-1E61A65EB9BE}" srcOrd="1" destOrd="0" presId="urn:microsoft.com/office/officeart/2005/8/layout/hierarchy6"/>
    <dgm:cxn modelId="{FADFFEB5-4999-43C7-9F7A-1199A5E70D60}" type="presParOf" srcId="{3DDBBDCB-D90F-4A61-A59C-1ECA1E15E0DC}" destId="{5055BF9E-BD21-46B2-B104-77045B1F39B4}" srcOrd="2" destOrd="0" presId="urn:microsoft.com/office/officeart/2005/8/layout/hierarchy6"/>
    <dgm:cxn modelId="{3FCD2BB4-A5D2-4D2B-8E33-03292F981915}" type="presParOf" srcId="{3DDBBDCB-D90F-4A61-A59C-1ECA1E15E0DC}" destId="{70189032-0B6F-413B-BC38-121E14337783}" srcOrd="3" destOrd="0" presId="urn:microsoft.com/office/officeart/2005/8/layout/hierarchy6"/>
    <dgm:cxn modelId="{8066A720-7EC2-4BDE-8E80-F415C92102BF}" type="presParOf" srcId="{70189032-0B6F-413B-BC38-121E14337783}" destId="{1A625409-AA07-4064-ABC0-B45A141F704A}" srcOrd="0" destOrd="0" presId="urn:microsoft.com/office/officeart/2005/8/layout/hierarchy6"/>
    <dgm:cxn modelId="{4DE3E29A-62E7-454B-86FE-E74156A89ED6}" type="presParOf" srcId="{70189032-0B6F-413B-BC38-121E14337783}" destId="{E5693F97-8F11-4F13-B48D-E76C644DD987}" srcOrd="1" destOrd="0" presId="urn:microsoft.com/office/officeart/2005/8/layout/hierarchy6"/>
    <dgm:cxn modelId="{78FAAE06-DE6A-461E-A51F-B79BF125DC85}" type="presParOf" srcId="{A8B4AD74-FEB7-45B5-96F1-0CA215FDF16E}" destId="{331E603D-A4E6-40D6-895A-AB2290E3C60C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41F5168-6DD5-47AC-A1DA-712D7DA554A4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A2AAEC0A-EFFC-44C1-873A-C0C759A4D6C5}">
      <dgm:prSet/>
      <dgm:spPr/>
      <dgm:t>
        <a:bodyPr/>
        <a:lstStyle/>
        <a:p>
          <a:r>
            <a:rPr lang="de-DE" b="1" dirty="0" err="1"/>
            <a:t>F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indable</a:t>
          </a:r>
          <a:r>
            <a:rPr lang="de-DE" b="1" dirty="0"/>
            <a:t> </a:t>
          </a:r>
          <a:endParaRPr lang="en-US" dirty="0"/>
        </a:p>
      </dgm:t>
    </dgm:pt>
    <dgm:pt modelId="{CD21C42B-D724-453D-B2CB-4BEC077E6564}" type="parTrans" cxnId="{67CFFDDE-704F-4861-BFB0-CEE40422ED95}">
      <dgm:prSet/>
      <dgm:spPr/>
      <dgm:t>
        <a:bodyPr/>
        <a:lstStyle/>
        <a:p>
          <a:endParaRPr lang="de-DE"/>
        </a:p>
      </dgm:t>
    </dgm:pt>
    <dgm:pt modelId="{93F5A712-0D3D-427A-B628-EF9CBEB4F8C7}" type="sibTrans" cxnId="{67CFFDDE-704F-4861-BFB0-CEE40422ED95}">
      <dgm:prSet/>
      <dgm:spPr/>
      <dgm:t>
        <a:bodyPr/>
        <a:lstStyle/>
        <a:p>
          <a:endParaRPr lang="de-DE"/>
        </a:p>
      </dgm:t>
    </dgm:pt>
    <dgm:pt modelId="{C3CE9977-DE4F-435F-8986-8384D76E1DCA}">
      <dgm:prSet/>
      <dgm:spPr/>
      <dgm:t>
        <a:bodyPr/>
        <a:lstStyle/>
        <a:p>
          <a:r>
            <a:rPr lang="de-DE" dirty="0"/>
            <a:t>F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assigned</a:t>
          </a:r>
          <a:r>
            <a:rPr lang="de-DE" dirty="0"/>
            <a:t> a </a:t>
          </a:r>
          <a:r>
            <a:rPr lang="de-DE" dirty="0" err="1"/>
            <a:t>globally</a:t>
          </a:r>
          <a:r>
            <a:rPr lang="de-DE" dirty="0"/>
            <a:t> </a:t>
          </a:r>
          <a:r>
            <a:rPr lang="de-DE" dirty="0" err="1"/>
            <a:t>unique</a:t>
          </a:r>
          <a:r>
            <a:rPr lang="de-DE" dirty="0"/>
            <a:t> and persistent </a:t>
          </a:r>
          <a:r>
            <a:rPr lang="de-DE" dirty="0" err="1"/>
            <a:t>identifier</a:t>
          </a:r>
          <a:r>
            <a:rPr lang="de-DE" dirty="0"/>
            <a:t> </a:t>
          </a:r>
          <a:endParaRPr lang="en-US" dirty="0"/>
        </a:p>
      </dgm:t>
    </dgm:pt>
    <dgm:pt modelId="{71104F41-F4D2-4880-BCEE-EC65C79AC1E1}" type="parTrans" cxnId="{A540A0D5-6176-41BB-9907-05DA34EC58E0}">
      <dgm:prSet/>
      <dgm:spPr/>
      <dgm:t>
        <a:bodyPr/>
        <a:lstStyle/>
        <a:p>
          <a:endParaRPr lang="de-DE"/>
        </a:p>
      </dgm:t>
    </dgm:pt>
    <dgm:pt modelId="{199836DA-4CBB-4A41-B7F9-49AC61BC9B22}" type="sibTrans" cxnId="{A540A0D5-6176-41BB-9907-05DA34EC58E0}">
      <dgm:prSet/>
      <dgm:spPr/>
      <dgm:t>
        <a:bodyPr/>
        <a:lstStyle/>
        <a:p>
          <a:endParaRPr lang="de-DE"/>
        </a:p>
      </dgm:t>
    </dgm:pt>
    <dgm:pt modelId="{7A236E01-F550-44B7-99BB-4CD5A0610079}">
      <dgm:prSet/>
      <dgm:spPr/>
      <dgm:t>
        <a:bodyPr/>
        <a:lstStyle/>
        <a:p>
          <a:r>
            <a:rPr lang="de-DE"/>
            <a:t>F2. Data are described with rich metadata (defined by R1 below) </a:t>
          </a:r>
          <a:endParaRPr lang="en-US"/>
        </a:p>
      </dgm:t>
    </dgm:pt>
    <dgm:pt modelId="{7AD2D878-8C42-49ED-BD77-44FBA9124461}" type="parTrans" cxnId="{95112963-0C53-462D-9D2C-59DA410117A6}">
      <dgm:prSet/>
      <dgm:spPr/>
      <dgm:t>
        <a:bodyPr/>
        <a:lstStyle/>
        <a:p>
          <a:endParaRPr lang="de-DE"/>
        </a:p>
      </dgm:t>
    </dgm:pt>
    <dgm:pt modelId="{60B27389-F024-43B8-A5BA-9A965B97FF2D}" type="sibTrans" cxnId="{95112963-0C53-462D-9D2C-59DA410117A6}">
      <dgm:prSet/>
      <dgm:spPr/>
      <dgm:t>
        <a:bodyPr/>
        <a:lstStyle/>
        <a:p>
          <a:endParaRPr lang="de-DE"/>
        </a:p>
      </dgm:t>
    </dgm:pt>
    <dgm:pt modelId="{D7265A2A-B5B8-4CC0-9CA8-36D16CB9FC0E}">
      <dgm:prSet/>
      <dgm:spPr/>
      <dgm:t>
        <a:bodyPr/>
        <a:lstStyle/>
        <a:p>
          <a:r>
            <a:rPr lang="de-DE" dirty="0"/>
            <a:t>F3. </a:t>
          </a:r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clearly</a:t>
          </a:r>
          <a:r>
            <a:rPr lang="de-DE" dirty="0"/>
            <a:t> and </a:t>
          </a:r>
          <a:r>
            <a:rPr lang="de-DE" dirty="0" err="1"/>
            <a:t>explicitly</a:t>
          </a:r>
          <a:r>
            <a:rPr lang="de-DE" dirty="0"/>
            <a:t> </a:t>
          </a:r>
          <a:r>
            <a:rPr lang="de-DE" dirty="0" err="1"/>
            <a:t>include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identifier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describe</a:t>
          </a:r>
          <a:r>
            <a:rPr lang="de-DE" dirty="0"/>
            <a:t> </a:t>
          </a:r>
          <a:endParaRPr lang="en-US" dirty="0"/>
        </a:p>
      </dgm:t>
    </dgm:pt>
    <dgm:pt modelId="{C43CC387-D501-4FDA-802B-8682D05D8272}" type="parTrans" cxnId="{D51FB5DE-68EF-43CB-BF98-D7C8FFEC3F68}">
      <dgm:prSet/>
      <dgm:spPr/>
      <dgm:t>
        <a:bodyPr/>
        <a:lstStyle/>
        <a:p>
          <a:endParaRPr lang="de-DE"/>
        </a:p>
      </dgm:t>
    </dgm:pt>
    <dgm:pt modelId="{D1B0916E-BB5D-4347-A1E3-33A802CCCD10}" type="sibTrans" cxnId="{D51FB5DE-68EF-43CB-BF98-D7C8FFEC3F68}">
      <dgm:prSet/>
      <dgm:spPr/>
      <dgm:t>
        <a:bodyPr/>
        <a:lstStyle/>
        <a:p>
          <a:endParaRPr lang="de-DE"/>
        </a:p>
      </dgm:t>
    </dgm:pt>
    <dgm:pt modelId="{0029C570-16C6-4C03-AE23-3F06594F4AE0}">
      <dgm:prSet/>
      <dgm:spPr/>
      <dgm:t>
        <a:bodyPr/>
        <a:lstStyle/>
        <a:p>
          <a:r>
            <a:rPr lang="de-DE"/>
            <a:t>F4. (Meta)data are registered or indexed in a searchable resource </a:t>
          </a:r>
          <a:endParaRPr lang="en-US"/>
        </a:p>
      </dgm:t>
    </dgm:pt>
    <dgm:pt modelId="{916497EE-0321-44DC-AF73-345EFCEFE75E}" type="parTrans" cxnId="{61C9F189-BAB3-41E0-A192-D0E4F2FC6329}">
      <dgm:prSet/>
      <dgm:spPr/>
      <dgm:t>
        <a:bodyPr/>
        <a:lstStyle/>
        <a:p>
          <a:endParaRPr lang="de-DE"/>
        </a:p>
      </dgm:t>
    </dgm:pt>
    <dgm:pt modelId="{B4C12321-7F40-46D3-BF23-90276B9FD51C}" type="sibTrans" cxnId="{61C9F189-BAB3-41E0-A192-D0E4F2FC6329}">
      <dgm:prSet/>
      <dgm:spPr/>
      <dgm:t>
        <a:bodyPr/>
        <a:lstStyle/>
        <a:p>
          <a:endParaRPr lang="de-DE"/>
        </a:p>
      </dgm:t>
    </dgm:pt>
    <dgm:pt modelId="{262B8CBF-C4ED-4C49-BC93-D85897721D9A}">
      <dgm:prSet/>
      <dgm:spPr/>
      <dgm:t>
        <a:bodyPr/>
        <a:lstStyle/>
        <a:p>
          <a:r>
            <a:rPr lang="de-DE" b="1" dirty="0" err="1"/>
            <a:t>A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ccessible</a:t>
          </a:r>
          <a:r>
            <a:rPr lang="de-DE" b="1" dirty="0">
              <a:solidFill>
                <a:schemeClr val="tx1">
                  <a:lumMod val="50000"/>
                  <a:lumOff val="50000"/>
                </a:schemeClr>
              </a:solidFill>
            </a:rPr>
            <a:t> </a:t>
          </a:r>
          <a:endParaRPr lang="en-US" dirty="0">
            <a:solidFill>
              <a:schemeClr val="tx1">
                <a:lumMod val="50000"/>
                <a:lumOff val="50000"/>
              </a:schemeClr>
            </a:solidFill>
          </a:endParaRPr>
        </a:p>
      </dgm:t>
    </dgm:pt>
    <dgm:pt modelId="{BCA26072-A917-476F-A8D5-41F62DE470D2}" type="parTrans" cxnId="{861CB3E8-85EC-4E73-9002-A013C0768F71}">
      <dgm:prSet/>
      <dgm:spPr/>
      <dgm:t>
        <a:bodyPr/>
        <a:lstStyle/>
        <a:p>
          <a:endParaRPr lang="de-DE"/>
        </a:p>
      </dgm:t>
    </dgm:pt>
    <dgm:pt modelId="{438F4B41-13ED-4CB9-9061-053068A51F94}" type="sibTrans" cxnId="{861CB3E8-85EC-4E73-9002-A013C0768F71}">
      <dgm:prSet/>
      <dgm:spPr/>
      <dgm:t>
        <a:bodyPr/>
        <a:lstStyle/>
        <a:p>
          <a:endParaRPr lang="de-DE"/>
        </a:p>
      </dgm:t>
    </dgm:pt>
    <dgm:pt modelId="{DACC0406-DC06-4FA9-BDEE-A0DD6137E80E}">
      <dgm:prSet/>
      <dgm:spPr/>
      <dgm:t>
        <a:bodyPr/>
        <a:lstStyle/>
        <a:p>
          <a:r>
            <a:rPr lang="de-DE" dirty="0"/>
            <a:t>A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etrievable</a:t>
          </a:r>
          <a:r>
            <a:rPr lang="de-DE" dirty="0"/>
            <a:t> </a:t>
          </a:r>
          <a:r>
            <a:rPr lang="de-DE" dirty="0" err="1"/>
            <a:t>by</a:t>
          </a:r>
          <a:r>
            <a:rPr lang="de-DE" dirty="0"/>
            <a:t> </a:t>
          </a:r>
          <a:r>
            <a:rPr lang="de-DE" dirty="0" err="1"/>
            <a:t>their</a:t>
          </a:r>
          <a:r>
            <a:rPr lang="de-DE" dirty="0"/>
            <a:t> </a:t>
          </a:r>
          <a:r>
            <a:rPr lang="de-DE" dirty="0" err="1"/>
            <a:t>identifier</a:t>
          </a:r>
          <a:r>
            <a:rPr lang="de-DE" dirty="0"/>
            <a:t> </a:t>
          </a:r>
          <a:r>
            <a:rPr lang="de-DE" dirty="0" err="1"/>
            <a:t>using</a:t>
          </a:r>
          <a:r>
            <a:rPr lang="de-DE" dirty="0"/>
            <a:t> a </a:t>
          </a:r>
          <a:r>
            <a:rPr lang="de-DE" dirty="0" err="1"/>
            <a:t>standardised</a:t>
          </a:r>
          <a:r>
            <a:rPr lang="de-DE" dirty="0"/>
            <a:t> </a:t>
          </a:r>
          <a:r>
            <a:rPr lang="de-DE" dirty="0" err="1"/>
            <a:t>communications</a:t>
          </a:r>
          <a:r>
            <a:rPr lang="de-DE" dirty="0"/>
            <a:t> </a:t>
          </a:r>
          <a:r>
            <a:rPr lang="de-DE" dirty="0" err="1"/>
            <a:t>protocol</a:t>
          </a:r>
          <a:r>
            <a:rPr lang="de-DE" dirty="0"/>
            <a:t> </a:t>
          </a:r>
          <a:endParaRPr lang="en-US" dirty="0"/>
        </a:p>
      </dgm:t>
    </dgm:pt>
    <dgm:pt modelId="{A3D4A051-4EF0-4E03-A3A9-F5141748A225}" type="parTrans" cxnId="{43800E53-8F75-48BA-B759-AFC3E9A794DE}">
      <dgm:prSet/>
      <dgm:spPr/>
      <dgm:t>
        <a:bodyPr/>
        <a:lstStyle/>
        <a:p>
          <a:endParaRPr lang="de-DE"/>
        </a:p>
      </dgm:t>
    </dgm:pt>
    <dgm:pt modelId="{F02D8462-F182-45E4-9A06-F9EE3AECEE8C}" type="sibTrans" cxnId="{43800E53-8F75-48BA-B759-AFC3E9A794DE}">
      <dgm:prSet/>
      <dgm:spPr/>
      <dgm:t>
        <a:bodyPr/>
        <a:lstStyle/>
        <a:p>
          <a:endParaRPr lang="de-DE"/>
        </a:p>
      </dgm:t>
    </dgm:pt>
    <dgm:pt modelId="{DCBCC11A-98FA-45F5-AFB8-254CBCD094F0}">
      <dgm:prSet/>
      <dgm:spPr/>
      <dgm:t>
        <a:bodyPr/>
        <a:lstStyle/>
        <a:p>
          <a:r>
            <a:rPr lang="de-DE"/>
            <a:t>A1.1 The protocol is open, free, and universally implementable </a:t>
          </a:r>
          <a:endParaRPr lang="en-US"/>
        </a:p>
      </dgm:t>
    </dgm:pt>
    <dgm:pt modelId="{7604196D-5D4F-4592-99F9-6662634BCC45}" type="parTrans" cxnId="{DD38407D-6B3E-4D89-BC88-64492B3AA246}">
      <dgm:prSet/>
      <dgm:spPr/>
      <dgm:t>
        <a:bodyPr/>
        <a:lstStyle/>
        <a:p>
          <a:endParaRPr lang="de-DE"/>
        </a:p>
      </dgm:t>
    </dgm:pt>
    <dgm:pt modelId="{B93B609E-30A5-4E1B-905D-3A01AD148459}" type="sibTrans" cxnId="{DD38407D-6B3E-4D89-BC88-64492B3AA246}">
      <dgm:prSet/>
      <dgm:spPr/>
      <dgm:t>
        <a:bodyPr/>
        <a:lstStyle/>
        <a:p>
          <a:endParaRPr lang="de-DE"/>
        </a:p>
      </dgm:t>
    </dgm:pt>
    <dgm:pt modelId="{5956D536-E652-4906-A9DA-17A08CD55705}">
      <dgm:prSet/>
      <dgm:spPr/>
      <dgm:t>
        <a:bodyPr/>
        <a:lstStyle/>
        <a:p>
          <a:r>
            <a:rPr lang="de-DE"/>
            <a:t>A1.2 The protocol allows for an authentication and authorisation procedure, where necessary </a:t>
          </a:r>
          <a:endParaRPr lang="en-US"/>
        </a:p>
      </dgm:t>
    </dgm:pt>
    <dgm:pt modelId="{187E25F5-713C-4FE4-85B9-CCADDA66E024}" type="parTrans" cxnId="{8C3AD541-E538-49F1-8D00-9E3B46DCD878}">
      <dgm:prSet/>
      <dgm:spPr/>
      <dgm:t>
        <a:bodyPr/>
        <a:lstStyle/>
        <a:p>
          <a:endParaRPr lang="de-DE"/>
        </a:p>
      </dgm:t>
    </dgm:pt>
    <dgm:pt modelId="{B3F5DA4F-7087-4EFF-B4E1-671D423DD92B}" type="sibTrans" cxnId="{8C3AD541-E538-49F1-8D00-9E3B46DCD878}">
      <dgm:prSet/>
      <dgm:spPr/>
      <dgm:t>
        <a:bodyPr/>
        <a:lstStyle/>
        <a:p>
          <a:endParaRPr lang="de-DE"/>
        </a:p>
      </dgm:t>
    </dgm:pt>
    <dgm:pt modelId="{436EC352-77B4-441D-B4FB-EE96596591AD}">
      <dgm:prSet/>
      <dgm:spPr/>
      <dgm:t>
        <a:bodyPr/>
        <a:lstStyle/>
        <a:p>
          <a:r>
            <a:rPr lang="de-DE"/>
            <a:t>A2. Metadata are accessible, even when the data are no longer available </a:t>
          </a:r>
          <a:endParaRPr lang="en-US"/>
        </a:p>
      </dgm:t>
    </dgm:pt>
    <dgm:pt modelId="{86D796D6-8AA3-47B2-8CA7-4C0DF2702E87}" type="parTrans" cxnId="{A1A57F76-4924-4A08-A608-8A23CC73A24A}">
      <dgm:prSet/>
      <dgm:spPr/>
      <dgm:t>
        <a:bodyPr/>
        <a:lstStyle/>
        <a:p>
          <a:endParaRPr lang="de-DE"/>
        </a:p>
      </dgm:t>
    </dgm:pt>
    <dgm:pt modelId="{E4B266E5-23FA-44D0-95DD-52DE11AC5D91}" type="sibTrans" cxnId="{A1A57F76-4924-4A08-A608-8A23CC73A24A}">
      <dgm:prSet/>
      <dgm:spPr/>
      <dgm:t>
        <a:bodyPr/>
        <a:lstStyle/>
        <a:p>
          <a:endParaRPr lang="de-DE"/>
        </a:p>
      </dgm:t>
    </dgm:pt>
    <dgm:pt modelId="{28AEF2BF-2FB4-4DF8-AAF0-0524890E5DF9}">
      <dgm:prSet/>
      <dgm:spPr/>
      <dgm:t>
        <a:bodyPr/>
        <a:lstStyle/>
        <a:p>
          <a:r>
            <a:rPr lang="de-DE" b="1" dirty="0"/>
            <a:t>I</a:t>
          </a:r>
          <a:r>
            <a:rPr lang="de-DE" b="1" dirty="0">
              <a:solidFill>
                <a:schemeClr val="tx1">
                  <a:lumMod val="50000"/>
                  <a:lumOff val="50000"/>
                </a:schemeClr>
              </a:solidFill>
            </a:rPr>
            <a:t>nteroperable</a:t>
          </a:r>
          <a:r>
            <a:rPr lang="de-DE" b="1" dirty="0"/>
            <a:t> </a:t>
          </a:r>
          <a:endParaRPr lang="en-US" dirty="0"/>
        </a:p>
      </dgm:t>
    </dgm:pt>
    <dgm:pt modelId="{0CC65302-E9A5-4A80-BF67-952662541C3C}" type="parTrans" cxnId="{3C4A290A-80E2-411C-A16E-8E33A326E597}">
      <dgm:prSet/>
      <dgm:spPr/>
      <dgm:t>
        <a:bodyPr/>
        <a:lstStyle/>
        <a:p>
          <a:endParaRPr lang="de-DE"/>
        </a:p>
      </dgm:t>
    </dgm:pt>
    <dgm:pt modelId="{D2F26911-5BEA-468E-AB9D-B90A36E6586A}" type="sibTrans" cxnId="{3C4A290A-80E2-411C-A16E-8E33A326E597}">
      <dgm:prSet/>
      <dgm:spPr/>
      <dgm:t>
        <a:bodyPr/>
        <a:lstStyle/>
        <a:p>
          <a:endParaRPr lang="de-DE"/>
        </a:p>
      </dgm:t>
    </dgm:pt>
    <dgm:pt modelId="{C9C2EEA4-5A21-4BCB-8EDA-36708361267B}">
      <dgm:prSet/>
      <dgm:spPr/>
      <dgm:t>
        <a:bodyPr/>
        <a:lstStyle/>
        <a:p>
          <a:r>
            <a:rPr lang="de-DE" dirty="0"/>
            <a:t>I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e</a:t>
          </a:r>
          <a:r>
            <a:rPr lang="de-DE" dirty="0"/>
            <a:t> a formal, </a:t>
          </a:r>
          <a:r>
            <a:rPr lang="de-DE" dirty="0" err="1"/>
            <a:t>accessible</a:t>
          </a:r>
          <a:r>
            <a:rPr lang="de-DE" dirty="0"/>
            <a:t>, </a:t>
          </a:r>
          <a:r>
            <a:rPr lang="de-DE" dirty="0" err="1"/>
            <a:t>shared</a:t>
          </a:r>
          <a:r>
            <a:rPr lang="de-DE" dirty="0"/>
            <a:t>, and </a:t>
          </a:r>
          <a:r>
            <a:rPr lang="de-DE" dirty="0" err="1"/>
            <a:t>broadly</a:t>
          </a:r>
          <a:r>
            <a:rPr lang="de-DE" dirty="0"/>
            <a:t> </a:t>
          </a:r>
          <a:r>
            <a:rPr lang="de-DE" dirty="0" err="1"/>
            <a:t>applicable</a:t>
          </a:r>
          <a:r>
            <a:rPr lang="de-DE" dirty="0"/>
            <a:t> </a:t>
          </a:r>
          <a:r>
            <a:rPr lang="de-DE" dirty="0" err="1"/>
            <a:t>language</a:t>
          </a:r>
          <a:r>
            <a:rPr lang="de-DE" dirty="0"/>
            <a:t>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knowledge</a:t>
          </a:r>
          <a:r>
            <a:rPr lang="de-DE" dirty="0"/>
            <a:t> </a:t>
          </a:r>
          <a:r>
            <a:rPr lang="de-DE" dirty="0" err="1"/>
            <a:t>representation</a:t>
          </a:r>
          <a:r>
            <a:rPr lang="de-DE" dirty="0"/>
            <a:t>. </a:t>
          </a:r>
          <a:endParaRPr lang="en-US" dirty="0"/>
        </a:p>
      </dgm:t>
    </dgm:pt>
    <dgm:pt modelId="{8107654B-B6CA-47E8-B618-D32C9B19AEAE}" type="parTrans" cxnId="{DE0210BE-2C48-47C5-9B09-9A99AA5D7596}">
      <dgm:prSet/>
      <dgm:spPr/>
      <dgm:t>
        <a:bodyPr/>
        <a:lstStyle/>
        <a:p>
          <a:endParaRPr lang="de-DE"/>
        </a:p>
      </dgm:t>
    </dgm:pt>
    <dgm:pt modelId="{8AD3E658-3B01-4E6B-B2D8-1FD5EDE8FFC3}" type="sibTrans" cxnId="{DE0210BE-2C48-47C5-9B09-9A99AA5D7596}">
      <dgm:prSet/>
      <dgm:spPr/>
      <dgm:t>
        <a:bodyPr/>
        <a:lstStyle/>
        <a:p>
          <a:endParaRPr lang="de-DE"/>
        </a:p>
      </dgm:t>
    </dgm:pt>
    <dgm:pt modelId="{2788F917-6692-485C-B7A3-CC7CE94ABB61}">
      <dgm:prSet/>
      <dgm:spPr/>
      <dgm:t>
        <a:bodyPr/>
        <a:lstStyle/>
        <a:p>
          <a:r>
            <a:rPr lang="de-DE" dirty="0"/>
            <a:t>I2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e</a:t>
          </a:r>
          <a:r>
            <a:rPr lang="en-US" dirty="0"/>
            <a:t> vocabularies that follow FAIR principles</a:t>
          </a:r>
        </a:p>
      </dgm:t>
    </dgm:pt>
    <dgm:pt modelId="{7D67FD93-7AC5-499A-B9DE-AC4EF2D81F5F}" type="parTrans" cxnId="{DF899C23-5DC7-4838-A565-378E7C6D7743}">
      <dgm:prSet/>
      <dgm:spPr/>
      <dgm:t>
        <a:bodyPr/>
        <a:lstStyle/>
        <a:p>
          <a:endParaRPr lang="de-DE"/>
        </a:p>
      </dgm:t>
    </dgm:pt>
    <dgm:pt modelId="{5C23804F-C141-4953-804B-2103B161BB38}" type="sibTrans" cxnId="{DF899C23-5DC7-4838-A565-378E7C6D7743}">
      <dgm:prSet/>
      <dgm:spPr/>
      <dgm:t>
        <a:bodyPr/>
        <a:lstStyle/>
        <a:p>
          <a:endParaRPr lang="de-DE"/>
        </a:p>
      </dgm:t>
    </dgm:pt>
    <dgm:pt modelId="{EE2836B3-49B6-4C11-AE2D-28B943E5A2E6}">
      <dgm:prSet/>
      <dgm:spPr/>
      <dgm:t>
        <a:bodyPr/>
        <a:lstStyle/>
        <a:p>
          <a:r>
            <a:rPr lang="de-DE" dirty="0"/>
            <a:t>I3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include</a:t>
          </a:r>
          <a:r>
            <a:rPr lang="de-DE" dirty="0"/>
            <a:t> </a:t>
          </a:r>
          <a:r>
            <a:rPr lang="de-DE" dirty="0" err="1"/>
            <a:t>qualified</a:t>
          </a:r>
          <a:r>
            <a:rPr lang="de-DE" dirty="0"/>
            <a:t> </a:t>
          </a:r>
          <a:r>
            <a:rPr lang="de-DE" dirty="0" err="1"/>
            <a:t>references</a:t>
          </a:r>
          <a:r>
            <a:rPr lang="de-DE" dirty="0"/>
            <a:t>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other</a:t>
          </a:r>
          <a:r>
            <a:rPr lang="de-DE" dirty="0"/>
            <a:t>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endParaRPr lang="en-US" dirty="0"/>
        </a:p>
      </dgm:t>
    </dgm:pt>
    <dgm:pt modelId="{D41D9F23-4DD7-439F-BF23-C3DA465342D7}" type="parTrans" cxnId="{8DF4199C-0EA6-4883-A958-0E3AD754A718}">
      <dgm:prSet/>
      <dgm:spPr/>
      <dgm:t>
        <a:bodyPr/>
        <a:lstStyle/>
        <a:p>
          <a:endParaRPr lang="de-DE"/>
        </a:p>
      </dgm:t>
    </dgm:pt>
    <dgm:pt modelId="{87AE3D83-0D00-4112-BC60-D208D62B0E5F}" type="sibTrans" cxnId="{8DF4199C-0EA6-4883-A958-0E3AD754A718}">
      <dgm:prSet/>
      <dgm:spPr/>
      <dgm:t>
        <a:bodyPr/>
        <a:lstStyle/>
        <a:p>
          <a:endParaRPr lang="de-DE"/>
        </a:p>
      </dgm:t>
    </dgm:pt>
    <dgm:pt modelId="{76C1A8FD-05CE-4A0C-AFA8-1354BDBDC834}">
      <dgm:prSet/>
      <dgm:spPr/>
      <dgm:t>
        <a:bodyPr/>
        <a:lstStyle/>
        <a:p>
          <a:r>
            <a:rPr lang="de-DE" b="1" dirty="0" err="1"/>
            <a:t>R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eusable</a:t>
          </a:r>
          <a:r>
            <a:rPr lang="de-DE" b="1" dirty="0"/>
            <a:t> </a:t>
          </a:r>
          <a:endParaRPr lang="en-US" dirty="0"/>
        </a:p>
      </dgm:t>
    </dgm:pt>
    <dgm:pt modelId="{CC235941-6A0B-4698-B402-838AD1C5BE00}" type="parTrans" cxnId="{C5D78CED-6DAF-494A-BD35-6DBD355D0278}">
      <dgm:prSet/>
      <dgm:spPr/>
      <dgm:t>
        <a:bodyPr/>
        <a:lstStyle/>
        <a:p>
          <a:endParaRPr lang="de-DE"/>
        </a:p>
      </dgm:t>
    </dgm:pt>
    <dgm:pt modelId="{3C4FBB90-2B21-4D92-9DA0-44071269EE9A}" type="sibTrans" cxnId="{C5D78CED-6DAF-494A-BD35-6DBD355D0278}">
      <dgm:prSet/>
      <dgm:spPr/>
      <dgm:t>
        <a:bodyPr/>
        <a:lstStyle/>
        <a:p>
          <a:endParaRPr lang="de-DE"/>
        </a:p>
      </dgm:t>
    </dgm:pt>
    <dgm:pt modelId="{DE57743C-6123-413E-8267-795F0DBB4180}">
      <dgm:prSet/>
      <dgm:spPr/>
      <dgm:t>
        <a:bodyPr/>
        <a:lstStyle/>
        <a:p>
          <a:r>
            <a:rPr lang="de-DE" dirty="0"/>
            <a:t>R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ichly</a:t>
          </a:r>
          <a:r>
            <a:rPr lang="de-DE" dirty="0"/>
            <a:t> </a:t>
          </a:r>
          <a:r>
            <a:rPr lang="de-DE" dirty="0" err="1"/>
            <a:t>describ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a </a:t>
          </a:r>
          <a:r>
            <a:rPr lang="de-DE" dirty="0" err="1"/>
            <a:t>pluralit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accurate</a:t>
          </a:r>
          <a:r>
            <a:rPr lang="de-DE" dirty="0"/>
            <a:t> and relevant </a:t>
          </a:r>
          <a:r>
            <a:rPr lang="de-DE" dirty="0" err="1"/>
            <a:t>attributes</a:t>
          </a:r>
          <a:r>
            <a:rPr lang="de-DE" dirty="0"/>
            <a:t> </a:t>
          </a:r>
          <a:endParaRPr lang="en-US" dirty="0"/>
        </a:p>
      </dgm:t>
    </dgm:pt>
    <dgm:pt modelId="{E280C945-AF9D-4B18-A26E-050184B08DC8}" type="parTrans" cxnId="{CC239A54-258E-4BCB-8F46-84246341EBEC}">
      <dgm:prSet/>
      <dgm:spPr/>
      <dgm:t>
        <a:bodyPr/>
        <a:lstStyle/>
        <a:p>
          <a:endParaRPr lang="de-DE"/>
        </a:p>
      </dgm:t>
    </dgm:pt>
    <dgm:pt modelId="{D9FD30D3-CE1F-451C-84B1-1EED19F54744}" type="sibTrans" cxnId="{CC239A54-258E-4BCB-8F46-84246341EBEC}">
      <dgm:prSet/>
      <dgm:spPr/>
      <dgm:t>
        <a:bodyPr/>
        <a:lstStyle/>
        <a:p>
          <a:endParaRPr lang="de-DE"/>
        </a:p>
      </dgm:t>
    </dgm:pt>
    <dgm:pt modelId="{D775912C-0C52-4A76-A7F0-0AFC4DBA153B}">
      <dgm:prSet/>
      <dgm:spPr/>
      <dgm:t>
        <a:bodyPr/>
        <a:lstStyle/>
        <a:p>
          <a:r>
            <a:rPr lang="de-DE" dirty="0"/>
            <a:t>R1.1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eleas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a </a:t>
          </a:r>
          <a:r>
            <a:rPr lang="de-DE" dirty="0" err="1"/>
            <a:t>clear</a:t>
          </a:r>
          <a:r>
            <a:rPr lang="de-DE" dirty="0"/>
            <a:t> and </a:t>
          </a:r>
          <a:r>
            <a:rPr lang="de-DE" dirty="0" err="1"/>
            <a:t>accessibl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age</a:t>
          </a:r>
          <a:r>
            <a:rPr lang="de-DE" dirty="0"/>
            <a:t> </a:t>
          </a:r>
          <a:r>
            <a:rPr lang="de-DE" dirty="0" err="1"/>
            <a:t>license</a:t>
          </a:r>
          <a:r>
            <a:rPr lang="de-DE" dirty="0"/>
            <a:t> </a:t>
          </a:r>
          <a:endParaRPr lang="en-US" dirty="0"/>
        </a:p>
      </dgm:t>
    </dgm:pt>
    <dgm:pt modelId="{4FDD7580-C608-4F05-B1B4-AADC38759B21}" type="parTrans" cxnId="{985EF477-9AF7-4260-AA6B-290E865B53A2}">
      <dgm:prSet/>
      <dgm:spPr/>
      <dgm:t>
        <a:bodyPr/>
        <a:lstStyle/>
        <a:p>
          <a:endParaRPr lang="de-DE"/>
        </a:p>
      </dgm:t>
    </dgm:pt>
    <dgm:pt modelId="{23963969-DFB8-45C9-9323-9877B566C6AD}" type="sibTrans" cxnId="{985EF477-9AF7-4260-AA6B-290E865B53A2}">
      <dgm:prSet/>
      <dgm:spPr/>
      <dgm:t>
        <a:bodyPr/>
        <a:lstStyle/>
        <a:p>
          <a:endParaRPr lang="de-DE"/>
        </a:p>
      </dgm:t>
    </dgm:pt>
    <dgm:pt modelId="{AECA7FDB-116F-4887-ADE5-67EE6F5E887E}">
      <dgm:prSet/>
      <dgm:spPr/>
      <dgm:t>
        <a:bodyPr/>
        <a:lstStyle/>
        <a:p>
          <a:r>
            <a:rPr lang="de-DE" dirty="0"/>
            <a:t>R1.2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associat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detailed</a:t>
          </a:r>
          <a:r>
            <a:rPr lang="de-DE" dirty="0"/>
            <a:t> </a:t>
          </a:r>
          <a:r>
            <a:rPr lang="de-DE" dirty="0" err="1"/>
            <a:t>provenance</a:t>
          </a:r>
          <a:r>
            <a:rPr lang="de-DE" dirty="0"/>
            <a:t> </a:t>
          </a:r>
          <a:endParaRPr lang="en-US" dirty="0"/>
        </a:p>
      </dgm:t>
    </dgm:pt>
    <dgm:pt modelId="{3A430B5D-7B1E-4C19-927E-6EE94532A2A5}" type="parTrans" cxnId="{4DB04E17-0CB2-40D9-B888-C9F6D8259505}">
      <dgm:prSet/>
      <dgm:spPr/>
      <dgm:t>
        <a:bodyPr/>
        <a:lstStyle/>
        <a:p>
          <a:endParaRPr lang="de-DE"/>
        </a:p>
      </dgm:t>
    </dgm:pt>
    <dgm:pt modelId="{E22A3917-9ECA-4D74-886B-7CE369421FC2}" type="sibTrans" cxnId="{4DB04E17-0CB2-40D9-B888-C9F6D8259505}">
      <dgm:prSet/>
      <dgm:spPr/>
      <dgm:t>
        <a:bodyPr/>
        <a:lstStyle/>
        <a:p>
          <a:endParaRPr lang="de-DE"/>
        </a:p>
      </dgm:t>
    </dgm:pt>
    <dgm:pt modelId="{8D0753CA-5967-4463-BAB5-BA0CD71AE359}">
      <dgm:prSet/>
      <dgm:spPr/>
      <dgm:t>
        <a:bodyPr/>
        <a:lstStyle/>
        <a:p>
          <a:r>
            <a:rPr lang="de-DE" dirty="0"/>
            <a:t>R1.3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meet</a:t>
          </a:r>
          <a:r>
            <a:rPr lang="de-DE" dirty="0"/>
            <a:t> domain-relevant </a:t>
          </a:r>
          <a:r>
            <a:rPr lang="de-DE" dirty="0" err="1"/>
            <a:t>community</a:t>
          </a:r>
          <a:r>
            <a:rPr lang="de-DE" dirty="0"/>
            <a:t> </a:t>
          </a:r>
          <a:r>
            <a:rPr lang="de-DE" dirty="0" err="1"/>
            <a:t>standards</a:t>
          </a:r>
          <a:r>
            <a:rPr lang="de-DE" dirty="0"/>
            <a:t> </a:t>
          </a:r>
          <a:endParaRPr lang="en-US" dirty="0"/>
        </a:p>
      </dgm:t>
    </dgm:pt>
    <dgm:pt modelId="{13E0531F-6A79-4D63-8487-5F1BD03FF5FB}" type="parTrans" cxnId="{489FA034-41D6-44A3-8D12-E153132EB7F3}">
      <dgm:prSet/>
      <dgm:spPr/>
      <dgm:t>
        <a:bodyPr/>
        <a:lstStyle/>
        <a:p>
          <a:endParaRPr lang="de-DE"/>
        </a:p>
      </dgm:t>
    </dgm:pt>
    <dgm:pt modelId="{930BAC37-4DB4-4297-8A4F-8ECE05D6C54A}" type="sibTrans" cxnId="{489FA034-41D6-44A3-8D12-E153132EB7F3}">
      <dgm:prSet/>
      <dgm:spPr/>
      <dgm:t>
        <a:bodyPr/>
        <a:lstStyle/>
        <a:p>
          <a:endParaRPr lang="de-DE"/>
        </a:p>
      </dgm:t>
    </dgm:pt>
    <dgm:pt modelId="{F94FB8B5-34DB-4A8A-B75C-5244AE7CD9B6}" type="pres">
      <dgm:prSet presAssocID="{C41F5168-6DD5-47AC-A1DA-712D7DA554A4}" presName="vert0" presStyleCnt="0">
        <dgm:presLayoutVars>
          <dgm:dir/>
          <dgm:animOne val="branch"/>
          <dgm:animLvl val="lvl"/>
        </dgm:presLayoutVars>
      </dgm:prSet>
      <dgm:spPr/>
    </dgm:pt>
    <dgm:pt modelId="{6D5B7B05-87C6-4FFE-ADD0-F073E23C1C40}" type="pres">
      <dgm:prSet presAssocID="{A2AAEC0A-EFFC-44C1-873A-C0C759A4D6C5}" presName="thickLine" presStyleLbl="alignNode1" presStyleIdx="0" presStyleCnt="4"/>
      <dgm:spPr/>
    </dgm:pt>
    <dgm:pt modelId="{09CF2907-D513-4332-A0E2-E828E4480AA3}" type="pres">
      <dgm:prSet presAssocID="{A2AAEC0A-EFFC-44C1-873A-C0C759A4D6C5}" presName="horz1" presStyleCnt="0"/>
      <dgm:spPr/>
    </dgm:pt>
    <dgm:pt modelId="{9C5866AB-59EF-4F1C-8183-4FA097E2EAB2}" type="pres">
      <dgm:prSet presAssocID="{A2AAEC0A-EFFC-44C1-873A-C0C759A4D6C5}" presName="tx1" presStyleLbl="revTx" presStyleIdx="0" presStyleCnt="19"/>
      <dgm:spPr/>
    </dgm:pt>
    <dgm:pt modelId="{969F6527-1A30-4E5A-95DC-FB2568897341}" type="pres">
      <dgm:prSet presAssocID="{A2AAEC0A-EFFC-44C1-873A-C0C759A4D6C5}" presName="vert1" presStyleCnt="0"/>
      <dgm:spPr/>
    </dgm:pt>
    <dgm:pt modelId="{8330D68A-6812-4763-B9EF-33A1F8452CD5}" type="pres">
      <dgm:prSet presAssocID="{C3CE9977-DE4F-435F-8986-8384D76E1DCA}" presName="vertSpace2a" presStyleCnt="0"/>
      <dgm:spPr/>
    </dgm:pt>
    <dgm:pt modelId="{F335A0F6-79F2-4332-A4AF-F6C3D0A93ED5}" type="pres">
      <dgm:prSet presAssocID="{C3CE9977-DE4F-435F-8986-8384D76E1DCA}" presName="horz2" presStyleCnt="0"/>
      <dgm:spPr/>
    </dgm:pt>
    <dgm:pt modelId="{8D8104FA-F946-4471-AFC6-3DEA83484B0C}" type="pres">
      <dgm:prSet presAssocID="{C3CE9977-DE4F-435F-8986-8384D76E1DCA}" presName="horzSpace2" presStyleCnt="0"/>
      <dgm:spPr/>
    </dgm:pt>
    <dgm:pt modelId="{07821BBB-2D49-4E58-8C52-2EFF5C42A35A}" type="pres">
      <dgm:prSet presAssocID="{C3CE9977-DE4F-435F-8986-8384D76E1DCA}" presName="tx2" presStyleLbl="revTx" presStyleIdx="1" presStyleCnt="19"/>
      <dgm:spPr/>
    </dgm:pt>
    <dgm:pt modelId="{CC5BA7E7-AAB2-44C7-896F-6AE7276FB8EE}" type="pres">
      <dgm:prSet presAssocID="{C3CE9977-DE4F-435F-8986-8384D76E1DCA}" presName="vert2" presStyleCnt="0"/>
      <dgm:spPr/>
    </dgm:pt>
    <dgm:pt modelId="{9D6C9090-3449-49F3-A926-3FF41361D091}" type="pres">
      <dgm:prSet presAssocID="{C3CE9977-DE4F-435F-8986-8384D76E1DCA}" presName="thinLine2b" presStyleLbl="callout" presStyleIdx="0" presStyleCnt="15"/>
      <dgm:spPr/>
    </dgm:pt>
    <dgm:pt modelId="{D939F5CC-2C48-4FF0-BF32-8547757BA403}" type="pres">
      <dgm:prSet presAssocID="{C3CE9977-DE4F-435F-8986-8384D76E1DCA}" presName="vertSpace2b" presStyleCnt="0"/>
      <dgm:spPr/>
    </dgm:pt>
    <dgm:pt modelId="{24710832-C97B-4427-91C0-B30C47CE5EBC}" type="pres">
      <dgm:prSet presAssocID="{7A236E01-F550-44B7-99BB-4CD5A0610079}" presName="horz2" presStyleCnt="0"/>
      <dgm:spPr/>
    </dgm:pt>
    <dgm:pt modelId="{BDAB6036-2E02-4D21-886B-D1EDCD2AEA89}" type="pres">
      <dgm:prSet presAssocID="{7A236E01-F550-44B7-99BB-4CD5A0610079}" presName="horzSpace2" presStyleCnt="0"/>
      <dgm:spPr/>
    </dgm:pt>
    <dgm:pt modelId="{CB97DA48-B9FE-46D1-AC86-A5C7852C5C00}" type="pres">
      <dgm:prSet presAssocID="{7A236E01-F550-44B7-99BB-4CD5A0610079}" presName="tx2" presStyleLbl="revTx" presStyleIdx="2" presStyleCnt="19"/>
      <dgm:spPr/>
    </dgm:pt>
    <dgm:pt modelId="{56BB4B0C-E55D-45F3-96DE-4A0F3E2E3576}" type="pres">
      <dgm:prSet presAssocID="{7A236E01-F550-44B7-99BB-4CD5A0610079}" presName="vert2" presStyleCnt="0"/>
      <dgm:spPr/>
    </dgm:pt>
    <dgm:pt modelId="{32C4C2CD-D417-466C-A48A-9915C567F733}" type="pres">
      <dgm:prSet presAssocID="{7A236E01-F550-44B7-99BB-4CD5A0610079}" presName="thinLine2b" presStyleLbl="callout" presStyleIdx="1" presStyleCnt="15"/>
      <dgm:spPr/>
    </dgm:pt>
    <dgm:pt modelId="{F252635D-8E35-450E-88F1-840A5BF715BF}" type="pres">
      <dgm:prSet presAssocID="{7A236E01-F550-44B7-99BB-4CD5A0610079}" presName="vertSpace2b" presStyleCnt="0"/>
      <dgm:spPr/>
    </dgm:pt>
    <dgm:pt modelId="{97FA7401-48F6-4312-8A97-08A991CCB96C}" type="pres">
      <dgm:prSet presAssocID="{D7265A2A-B5B8-4CC0-9CA8-36D16CB9FC0E}" presName="horz2" presStyleCnt="0"/>
      <dgm:spPr/>
    </dgm:pt>
    <dgm:pt modelId="{7191886B-B980-49F3-9C10-455AA5B83071}" type="pres">
      <dgm:prSet presAssocID="{D7265A2A-B5B8-4CC0-9CA8-36D16CB9FC0E}" presName="horzSpace2" presStyleCnt="0"/>
      <dgm:spPr/>
    </dgm:pt>
    <dgm:pt modelId="{F5059257-5205-4CD2-955D-631EE8914350}" type="pres">
      <dgm:prSet presAssocID="{D7265A2A-B5B8-4CC0-9CA8-36D16CB9FC0E}" presName="tx2" presStyleLbl="revTx" presStyleIdx="3" presStyleCnt="19"/>
      <dgm:spPr/>
    </dgm:pt>
    <dgm:pt modelId="{CE5E8BF5-2C9E-443F-8FBB-B653F5C65087}" type="pres">
      <dgm:prSet presAssocID="{D7265A2A-B5B8-4CC0-9CA8-36D16CB9FC0E}" presName="vert2" presStyleCnt="0"/>
      <dgm:spPr/>
    </dgm:pt>
    <dgm:pt modelId="{AC0F9F29-C5D4-4A83-AE67-80752EDFA98B}" type="pres">
      <dgm:prSet presAssocID="{D7265A2A-B5B8-4CC0-9CA8-36D16CB9FC0E}" presName="thinLine2b" presStyleLbl="callout" presStyleIdx="2" presStyleCnt="15"/>
      <dgm:spPr/>
    </dgm:pt>
    <dgm:pt modelId="{9C767E18-873A-44A3-B4B3-5378FAD3999D}" type="pres">
      <dgm:prSet presAssocID="{D7265A2A-B5B8-4CC0-9CA8-36D16CB9FC0E}" presName="vertSpace2b" presStyleCnt="0"/>
      <dgm:spPr/>
    </dgm:pt>
    <dgm:pt modelId="{B8887050-CCCD-43FA-9B52-F02F7431897A}" type="pres">
      <dgm:prSet presAssocID="{0029C570-16C6-4C03-AE23-3F06594F4AE0}" presName="horz2" presStyleCnt="0"/>
      <dgm:spPr/>
    </dgm:pt>
    <dgm:pt modelId="{CA5BFE79-B1A2-46A0-A4D9-D7FCB2F028AC}" type="pres">
      <dgm:prSet presAssocID="{0029C570-16C6-4C03-AE23-3F06594F4AE0}" presName="horzSpace2" presStyleCnt="0"/>
      <dgm:spPr/>
    </dgm:pt>
    <dgm:pt modelId="{52AA3B61-92C8-4113-A9D0-3BCE4A8064F6}" type="pres">
      <dgm:prSet presAssocID="{0029C570-16C6-4C03-AE23-3F06594F4AE0}" presName="tx2" presStyleLbl="revTx" presStyleIdx="4" presStyleCnt="19"/>
      <dgm:spPr/>
    </dgm:pt>
    <dgm:pt modelId="{4A7985BC-A528-4313-A212-FB275CECEB22}" type="pres">
      <dgm:prSet presAssocID="{0029C570-16C6-4C03-AE23-3F06594F4AE0}" presName="vert2" presStyleCnt="0"/>
      <dgm:spPr/>
    </dgm:pt>
    <dgm:pt modelId="{C986D100-647B-4493-84EB-F38F40220450}" type="pres">
      <dgm:prSet presAssocID="{0029C570-16C6-4C03-AE23-3F06594F4AE0}" presName="thinLine2b" presStyleLbl="callout" presStyleIdx="3" presStyleCnt="15"/>
      <dgm:spPr/>
    </dgm:pt>
    <dgm:pt modelId="{BFFD0BCE-8DCB-4870-9929-3236AFBDC365}" type="pres">
      <dgm:prSet presAssocID="{0029C570-16C6-4C03-AE23-3F06594F4AE0}" presName="vertSpace2b" presStyleCnt="0"/>
      <dgm:spPr/>
    </dgm:pt>
    <dgm:pt modelId="{31FF0D7E-CD9B-420B-A0C0-38309E5D335A}" type="pres">
      <dgm:prSet presAssocID="{262B8CBF-C4ED-4C49-BC93-D85897721D9A}" presName="thickLine" presStyleLbl="alignNode1" presStyleIdx="1" presStyleCnt="4"/>
      <dgm:spPr/>
    </dgm:pt>
    <dgm:pt modelId="{3A738A29-4404-4612-8DD2-953603B77C55}" type="pres">
      <dgm:prSet presAssocID="{262B8CBF-C4ED-4C49-BC93-D85897721D9A}" presName="horz1" presStyleCnt="0"/>
      <dgm:spPr/>
    </dgm:pt>
    <dgm:pt modelId="{A92A0BA4-0945-4E38-A261-2491ED675EC3}" type="pres">
      <dgm:prSet presAssocID="{262B8CBF-C4ED-4C49-BC93-D85897721D9A}" presName="tx1" presStyleLbl="revTx" presStyleIdx="5" presStyleCnt="19"/>
      <dgm:spPr/>
    </dgm:pt>
    <dgm:pt modelId="{8727B500-8D08-442E-AE07-2A9619464686}" type="pres">
      <dgm:prSet presAssocID="{262B8CBF-C4ED-4C49-BC93-D85897721D9A}" presName="vert1" presStyleCnt="0"/>
      <dgm:spPr/>
    </dgm:pt>
    <dgm:pt modelId="{F92941DF-AFB6-4484-9A66-8162CC35DA4D}" type="pres">
      <dgm:prSet presAssocID="{DACC0406-DC06-4FA9-BDEE-A0DD6137E80E}" presName="vertSpace2a" presStyleCnt="0"/>
      <dgm:spPr/>
    </dgm:pt>
    <dgm:pt modelId="{A3D6154B-63F6-4533-8DAE-70F7A9A377D8}" type="pres">
      <dgm:prSet presAssocID="{DACC0406-DC06-4FA9-BDEE-A0DD6137E80E}" presName="horz2" presStyleCnt="0"/>
      <dgm:spPr/>
    </dgm:pt>
    <dgm:pt modelId="{53FDD055-417F-4DBE-87CE-89AE90A5ACA6}" type="pres">
      <dgm:prSet presAssocID="{DACC0406-DC06-4FA9-BDEE-A0DD6137E80E}" presName="horzSpace2" presStyleCnt="0"/>
      <dgm:spPr/>
    </dgm:pt>
    <dgm:pt modelId="{3C6AF8C2-EAE6-4F5D-AF29-CB729CA7E604}" type="pres">
      <dgm:prSet presAssocID="{DACC0406-DC06-4FA9-BDEE-A0DD6137E80E}" presName="tx2" presStyleLbl="revTx" presStyleIdx="6" presStyleCnt="19"/>
      <dgm:spPr/>
    </dgm:pt>
    <dgm:pt modelId="{1E88988E-796E-48E0-811B-79FF92A33DAE}" type="pres">
      <dgm:prSet presAssocID="{DACC0406-DC06-4FA9-BDEE-A0DD6137E80E}" presName="vert2" presStyleCnt="0"/>
      <dgm:spPr/>
    </dgm:pt>
    <dgm:pt modelId="{823C9A80-4451-4AA5-A202-E2A60B6F5DF1}" type="pres">
      <dgm:prSet presAssocID="{DACC0406-DC06-4FA9-BDEE-A0DD6137E80E}" presName="thinLine2b" presStyleLbl="callout" presStyleIdx="4" presStyleCnt="15"/>
      <dgm:spPr/>
    </dgm:pt>
    <dgm:pt modelId="{844FCCFD-2192-4FBA-8323-BCB51237FD71}" type="pres">
      <dgm:prSet presAssocID="{DACC0406-DC06-4FA9-BDEE-A0DD6137E80E}" presName="vertSpace2b" presStyleCnt="0"/>
      <dgm:spPr/>
    </dgm:pt>
    <dgm:pt modelId="{5E66EF0C-8CAC-43F1-B959-942A6D1632DC}" type="pres">
      <dgm:prSet presAssocID="{DCBCC11A-98FA-45F5-AFB8-254CBCD094F0}" presName="horz2" presStyleCnt="0"/>
      <dgm:spPr/>
    </dgm:pt>
    <dgm:pt modelId="{3907F00D-4FA0-4079-9443-F9C7602C06F3}" type="pres">
      <dgm:prSet presAssocID="{DCBCC11A-98FA-45F5-AFB8-254CBCD094F0}" presName="horzSpace2" presStyleCnt="0"/>
      <dgm:spPr/>
    </dgm:pt>
    <dgm:pt modelId="{DD313DA8-6722-4268-A82E-41C67B4E4CF9}" type="pres">
      <dgm:prSet presAssocID="{DCBCC11A-98FA-45F5-AFB8-254CBCD094F0}" presName="tx2" presStyleLbl="revTx" presStyleIdx="7" presStyleCnt="19"/>
      <dgm:spPr/>
    </dgm:pt>
    <dgm:pt modelId="{65B3C447-1670-47E4-8117-1BC788A2282F}" type="pres">
      <dgm:prSet presAssocID="{DCBCC11A-98FA-45F5-AFB8-254CBCD094F0}" presName="vert2" presStyleCnt="0"/>
      <dgm:spPr/>
    </dgm:pt>
    <dgm:pt modelId="{693D6E36-CE33-4BB8-97A3-2F35DA18C977}" type="pres">
      <dgm:prSet presAssocID="{DCBCC11A-98FA-45F5-AFB8-254CBCD094F0}" presName="thinLine2b" presStyleLbl="callout" presStyleIdx="5" presStyleCnt="15"/>
      <dgm:spPr/>
    </dgm:pt>
    <dgm:pt modelId="{B3EA6F17-BC45-40EB-9381-840077FAC91E}" type="pres">
      <dgm:prSet presAssocID="{DCBCC11A-98FA-45F5-AFB8-254CBCD094F0}" presName="vertSpace2b" presStyleCnt="0"/>
      <dgm:spPr/>
    </dgm:pt>
    <dgm:pt modelId="{5D778381-A3AC-47D9-8A36-AD6760240653}" type="pres">
      <dgm:prSet presAssocID="{5956D536-E652-4906-A9DA-17A08CD55705}" presName="horz2" presStyleCnt="0"/>
      <dgm:spPr/>
    </dgm:pt>
    <dgm:pt modelId="{B8F06D71-6E06-45FA-B751-F5EAC1FFDE9C}" type="pres">
      <dgm:prSet presAssocID="{5956D536-E652-4906-A9DA-17A08CD55705}" presName="horzSpace2" presStyleCnt="0"/>
      <dgm:spPr/>
    </dgm:pt>
    <dgm:pt modelId="{3175CFF6-4EF2-48FE-98E7-F1EC74F1C883}" type="pres">
      <dgm:prSet presAssocID="{5956D536-E652-4906-A9DA-17A08CD55705}" presName="tx2" presStyleLbl="revTx" presStyleIdx="8" presStyleCnt="19"/>
      <dgm:spPr/>
    </dgm:pt>
    <dgm:pt modelId="{F24A6493-19BA-4241-8ECE-3AA1B005003C}" type="pres">
      <dgm:prSet presAssocID="{5956D536-E652-4906-A9DA-17A08CD55705}" presName="vert2" presStyleCnt="0"/>
      <dgm:spPr/>
    </dgm:pt>
    <dgm:pt modelId="{E5625D70-0D9C-4264-8180-0DBCBF16286F}" type="pres">
      <dgm:prSet presAssocID="{5956D536-E652-4906-A9DA-17A08CD55705}" presName="thinLine2b" presStyleLbl="callout" presStyleIdx="6" presStyleCnt="15"/>
      <dgm:spPr/>
    </dgm:pt>
    <dgm:pt modelId="{6CCFFB81-DF28-4173-A5E5-94474F176CCC}" type="pres">
      <dgm:prSet presAssocID="{5956D536-E652-4906-A9DA-17A08CD55705}" presName="vertSpace2b" presStyleCnt="0"/>
      <dgm:spPr/>
    </dgm:pt>
    <dgm:pt modelId="{EF774C4C-E181-4FDC-9242-F747BAA9187D}" type="pres">
      <dgm:prSet presAssocID="{436EC352-77B4-441D-B4FB-EE96596591AD}" presName="horz2" presStyleCnt="0"/>
      <dgm:spPr/>
    </dgm:pt>
    <dgm:pt modelId="{423891BF-25C8-4646-B48D-5F3B1303E6CC}" type="pres">
      <dgm:prSet presAssocID="{436EC352-77B4-441D-B4FB-EE96596591AD}" presName="horzSpace2" presStyleCnt="0"/>
      <dgm:spPr/>
    </dgm:pt>
    <dgm:pt modelId="{AEC0CCCB-48BB-46A3-8467-D508EEFC0DBF}" type="pres">
      <dgm:prSet presAssocID="{436EC352-77B4-441D-B4FB-EE96596591AD}" presName="tx2" presStyleLbl="revTx" presStyleIdx="9" presStyleCnt="19"/>
      <dgm:spPr/>
    </dgm:pt>
    <dgm:pt modelId="{24AE0682-EF69-4729-A1FA-181DA6F9BBF3}" type="pres">
      <dgm:prSet presAssocID="{436EC352-77B4-441D-B4FB-EE96596591AD}" presName="vert2" presStyleCnt="0"/>
      <dgm:spPr/>
    </dgm:pt>
    <dgm:pt modelId="{ABA0F64C-2A79-4226-88B6-5C9C388A6B8F}" type="pres">
      <dgm:prSet presAssocID="{436EC352-77B4-441D-B4FB-EE96596591AD}" presName="thinLine2b" presStyleLbl="callout" presStyleIdx="7" presStyleCnt="15"/>
      <dgm:spPr/>
    </dgm:pt>
    <dgm:pt modelId="{0F1E1147-8746-4666-A5E2-C81A02FD9CE2}" type="pres">
      <dgm:prSet presAssocID="{436EC352-77B4-441D-B4FB-EE96596591AD}" presName="vertSpace2b" presStyleCnt="0"/>
      <dgm:spPr/>
    </dgm:pt>
    <dgm:pt modelId="{5C5340A9-2C43-4A25-9D7A-0B0F0C1CA4EF}" type="pres">
      <dgm:prSet presAssocID="{28AEF2BF-2FB4-4DF8-AAF0-0524890E5DF9}" presName="thickLine" presStyleLbl="alignNode1" presStyleIdx="2" presStyleCnt="4"/>
      <dgm:spPr/>
    </dgm:pt>
    <dgm:pt modelId="{E68F3C15-1E00-4BD7-8ABA-D3444ABBC6A8}" type="pres">
      <dgm:prSet presAssocID="{28AEF2BF-2FB4-4DF8-AAF0-0524890E5DF9}" presName="horz1" presStyleCnt="0"/>
      <dgm:spPr/>
    </dgm:pt>
    <dgm:pt modelId="{3DED8D65-2801-4CA0-9F1E-7E1443A2BC54}" type="pres">
      <dgm:prSet presAssocID="{28AEF2BF-2FB4-4DF8-AAF0-0524890E5DF9}" presName="tx1" presStyleLbl="revTx" presStyleIdx="10" presStyleCnt="19"/>
      <dgm:spPr/>
    </dgm:pt>
    <dgm:pt modelId="{46809D12-6676-4D3C-88B4-AD090E94D124}" type="pres">
      <dgm:prSet presAssocID="{28AEF2BF-2FB4-4DF8-AAF0-0524890E5DF9}" presName="vert1" presStyleCnt="0"/>
      <dgm:spPr/>
    </dgm:pt>
    <dgm:pt modelId="{248EB20B-154C-4376-B87C-B5A9E7E27695}" type="pres">
      <dgm:prSet presAssocID="{C9C2EEA4-5A21-4BCB-8EDA-36708361267B}" presName="vertSpace2a" presStyleCnt="0"/>
      <dgm:spPr/>
    </dgm:pt>
    <dgm:pt modelId="{831F23DE-44B2-43BC-A9A4-929FAFAB08B9}" type="pres">
      <dgm:prSet presAssocID="{C9C2EEA4-5A21-4BCB-8EDA-36708361267B}" presName="horz2" presStyleCnt="0"/>
      <dgm:spPr/>
    </dgm:pt>
    <dgm:pt modelId="{2EE5D640-8AF9-4529-9F01-4A828183FC1B}" type="pres">
      <dgm:prSet presAssocID="{C9C2EEA4-5A21-4BCB-8EDA-36708361267B}" presName="horzSpace2" presStyleCnt="0"/>
      <dgm:spPr/>
    </dgm:pt>
    <dgm:pt modelId="{3EA9A40D-FC69-4C40-8071-B550C22A5F60}" type="pres">
      <dgm:prSet presAssocID="{C9C2EEA4-5A21-4BCB-8EDA-36708361267B}" presName="tx2" presStyleLbl="revTx" presStyleIdx="11" presStyleCnt="19"/>
      <dgm:spPr/>
    </dgm:pt>
    <dgm:pt modelId="{F887B56D-B01A-46C2-9C28-A82DC735A008}" type="pres">
      <dgm:prSet presAssocID="{C9C2EEA4-5A21-4BCB-8EDA-36708361267B}" presName="vert2" presStyleCnt="0"/>
      <dgm:spPr/>
    </dgm:pt>
    <dgm:pt modelId="{67FF7D15-1CB5-4A04-B4AD-CFEB0578751F}" type="pres">
      <dgm:prSet presAssocID="{C9C2EEA4-5A21-4BCB-8EDA-36708361267B}" presName="thinLine2b" presStyleLbl="callout" presStyleIdx="8" presStyleCnt="15"/>
      <dgm:spPr/>
    </dgm:pt>
    <dgm:pt modelId="{EB0291AA-21AC-494F-B371-71CC77D510F0}" type="pres">
      <dgm:prSet presAssocID="{C9C2EEA4-5A21-4BCB-8EDA-36708361267B}" presName="vertSpace2b" presStyleCnt="0"/>
      <dgm:spPr/>
    </dgm:pt>
    <dgm:pt modelId="{79E4137B-E343-41E1-B805-58151CF78FF4}" type="pres">
      <dgm:prSet presAssocID="{2788F917-6692-485C-B7A3-CC7CE94ABB61}" presName="horz2" presStyleCnt="0"/>
      <dgm:spPr/>
    </dgm:pt>
    <dgm:pt modelId="{2EF0B775-9972-4CAA-82EC-26C4165306EA}" type="pres">
      <dgm:prSet presAssocID="{2788F917-6692-485C-B7A3-CC7CE94ABB61}" presName="horzSpace2" presStyleCnt="0"/>
      <dgm:spPr/>
    </dgm:pt>
    <dgm:pt modelId="{A8D85432-8A2F-4188-B4D3-4FF6B0A5AE5E}" type="pres">
      <dgm:prSet presAssocID="{2788F917-6692-485C-B7A3-CC7CE94ABB61}" presName="tx2" presStyleLbl="revTx" presStyleIdx="12" presStyleCnt="19"/>
      <dgm:spPr/>
    </dgm:pt>
    <dgm:pt modelId="{2126E857-0A29-4CEC-88E7-A1718EF89603}" type="pres">
      <dgm:prSet presAssocID="{2788F917-6692-485C-B7A3-CC7CE94ABB61}" presName="vert2" presStyleCnt="0"/>
      <dgm:spPr/>
    </dgm:pt>
    <dgm:pt modelId="{502662D2-A353-4182-AA0D-789255AE3743}" type="pres">
      <dgm:prSet presAssocID="{2788F917-6692-485C-B7A3-CC7CE94ABB61}" presName="thinLine2b" presStyleLbl="callout" presStyleIdx="9" presStyleCnt="15"/>
      <dgm:spPr/>
    </dgm:pt>
    <dgm:pt modelId="{56D7FDFE-7E7C-4FA1-BD4C-E99F092E732B}" type="pres">
      <dgm:prSet presAssocID="{2788F917-6692-485C-B7A3-CC7CE94ABB61}" presName="vertSpace2b" presStyleCnt="0"/>
      <dgm:spPr/>
    </dgm:pt>
    <dgm:pt modelId="{08CFF2C2-E663-4DF1-A740-A13ECE13BDC6}" type="pres">
      <dgm:prSet presAssocID="{EE2836B3-49B6-4C11-AE2D-28B943E5A2E6}" presName="horz2" presStyleCnt="0"/>
      <dgm:spPr/>
    </dgm:pt>
    <dgm:pt modelId="{521F9115-EF9D-4607-ABC2-5AAF90CA4E9D}" type="pres">
      <dgm:prSet presAssocID="{EE2836B3-49B6-4C11-AE2D-28B943E5A2E6}" presName="horzSpace2" presStyleCnt="0"/>
      <dgm:spPr/>
    </dgm:pt>
    <dgm:pt modelId="{34F5590F-DF18-451E-A3A8-828A38655CD4}" type="pres">
      <dgm:prSet presAssocID="{EE2836B3-49B6-4C11-AE2D-28B943E5A2E6}" presName="tx2" presStyleLbl="revTx" presStyleIdx="13" presStyleCnt="19"/>
      <dgm:spPr/>
    </dgm:pt>
    <dgm:pt modelId="{C8DE2C9B-A02F-493C-AFFC-5A3865DF0724}" type="pres">
      <dgm:prSet presAssocID="{EE2836B3-49B6-4C11-AE2D-28B943E5A2E6}" presName="vert2" presStyleCnt="0"/>
      <dgm:spPr/>
    </dgm:pt>
    <dgm:pt modelId="{9AAA285E-9344-4C3A-B597-F6B85A90277D}" type="pres">
      <dgm:prSet presAssocID="{EE2836B3-49B6-4C11-AE2D-28B943E5A2E6}" presName="thinLine2b" presStyleLbl="callout" presStyleIdx="10" presStyleCnt="15"/>
      <dgm:spPr/>
    </dgm:pt>
    <dgm:pt modelId="{C1E9161E-779D-4709-8421-3E7E5E740A2C}" type="pres">
      <dgm:prSet presAssocID="{EE2836B3-49B6-4C11-AE2D-28B943E5A2E6}" presName="vertSpace2b" presStyleCnt="0"/>
      <dgm:spPr/>
    </dgm:pt>
    <dgm:pt modelId="{F6865C52-0876-41B6-B10F-46627FCE0514}" type="pres">
      <dgm:prSet presAssocID="{76C1A8FD-05CE-4A0C-AFA8-1354BDBDC834}" presName="thickLine" presStyleLbl="alignNode1" presStyleIdx="3" presStyleCnt="4"/>
      <dgm:spPr/>
    </dgm:pt>
    <dgm:pt modelId="{6213EFA6-EF75-49AA-A270-4A71474E686C}" type="pres">
      <dgm:prSet presAssocID="{76C1A8FD-05CE-4A0C-AFA8-1354BDBDC834}" presName="horz1" presStyleCnt="0"/>
      <dgm:spPr/>
    </dgm:pt>
    <dgm:pt modelId="{39A3B301-AE3A-46A3-B87B-F7F0B663D051}" type="pres">
      <dgm:prSet presAssocID="{76C1A8FD-05CE-4A0C-AFA8-1354BDBDC834}" presName="tx1" presStyleLbl="revTx" presStyleIdx="14" presStyleCnt="19"/>
      <dgm:spPr/>
    </dgm:pt>
    <dgm:pt modelId="{6C319732-22F7-4E25-B83E-948DEE3CFD9D}" type="pres">
      <dgm:prSet presAssocID="{76C1A8FD-05CE-4A0C-AFA8-1354BDBDC834}" presName="vert1" presStyleCnt="0"/>
      <dgm:spPr/>
    </dgm:pt>
    <dgm:pt modelId="{97A74B68-4569-4600-A9A6-EED3ADD84080}" type="pres">
      <dgm:prSet presAssocID="{DE57743C-6123-413E-8267-795F0DBB4180}" presName="vertSpace2a" presStyleCnt="0"/>
      <dgm:spPr/>
    </dgm:pt>
    <dgm:pt modelId="{923D59CF-DD99-40F3-8D07-9ED93AD23E00}" type="pres">
      <dgm:prSet presAssocID="{DE57743C-6123-413E-8267-795F0DBB4180}" presName="horz2" presStyleCnt="0"/>
      <dgm:spPr/>
    </dgm:pt>
    <dgm:pt modelId="{944F3539-2333-4583-B2C1-49D014CA7E98}" type="pres">
      <dgm:prSet presAssocID="{DE57743C-6123-413E-8267-795F0DBB4180}" presName="horzSpace2" presStyleCnt="0"/>
      <dgm:spPr/>
    </dgm:pt>
    <dgm:pt modelId="{13482DE6-51FC-41CF-9078-04E278CCFD2C}" type="pres">
      <dgm:prSet presAssocID="{DE57743C-6123-413E-8267-795F0DBB4180}" presName="tx2" presStyleLbl="revTx" presStyleIdx="15" presStyleCnt="19"/>
      <dgm:spPr/>
    </dgm:pt>
    <dgm:pt modelId="{C1489E75-1063-4282-B12B-28453921CC36}" type="pres">
      <dgm:prSet presAssocID="{DE57743C-6123-413E-8267-795F0DBB4180}" presName="vert2" presStyleCnt="0"/>
      <dgm:spPr/>
    </dgm:pt>
    <dgm:pt modelId="{0F50EB08-D536-4931-BEB7-C57A44D9AB4A}" type="pres">
      <dgm:prSet presAssocID="{DE57743C-6123-413E-8267-795F0DBB4180}" presName="thinLine2b" presStyleLbl="callout" presStyleIdx="11" presStyleCnt="15"/>
      <dgm:spPr/>
    </dgm:pt>
    <dgm:pt modelId="{022413A2-19EA-4A13-9FF3-48C2E5F1A248}" type="pres">
      <dgm:prSet presAssocID="{DE57743C-6123-413E-8267-795F0DBB4180}" presName="vertSpace2b" presStyleCnt="0"/>
      <dgm:spPr/>
    </dgm:pt>
    <dgm:pt modelId="{9067F3BE-998C-4218-AF82-2DD61AF14837}" type="pres">
      <dgm:prSet presAssocID="{D775912C-0C52-4A76-A7F0-0AFC4DBA153B}" presName="horz2" presStyleCnt="0"/>
      <dgm:spPr/>
    </dgm:pt>
    <dgm:pt modelId="{9E53E73A-FE57-45EE-8D12-EF555776CC8E}" type="pres">
      <dgm:prSet presAssocID="{D775912C-0C52-4A76-A7F0-0AFC4DBA153B}" presName="horzSpace2" presStyleCnt="0"/>
      <dgm:spPr/>
    </dgm:pt>
    <dgm:pt modelId="{FAE46182-B075-43AB-869D-7B6CBFB439E1}" type="pres">
      <dgm:prSet presAssocID="{D775912C-0C52-4A76-A7F0-0AFC4DBA153B}" presName="tx2" presStyleLbl="revTx" presStyleIdx="16" presStyleCnt="19"/>
      <dgm:spPr/>
    </dgm:pt>
    <dgm:pt modelId="{E3999466-F0DD-4CC0-9015-17F1AFD17482}" type="pres">
      <dgm:prSet presAssocID="{D775912C-0C52-4A76-A7F0-0AFC4DBA153B}" presName="vert2" presStyleCnt="0"/>
      <dgm:spPr/>
    </dgm:pt>
    <dgm:pt modelId="{5A444254-F6E2-4470-B18A-74737797156D}" type="pres">
      <dgm:prSet presAssocID="{D775912C-0C52-4A76-A7F0-0AFC4DBA153B}" presName="thinLine2b" presStyleLbl="callout" presStyleIdx="12" presStyleCnt="15"/>
      <dgm:spPr/>
    </dgm:pt>
    <dgm:pt modelId="{36A2ACE9-AA05-47A2-BB1B-DE7A325B04E9}" type="pres">
      <dgm:prSet presAssocID="{D775912C-0C52-4A76-A7F0-0AFC4DBA153B}" presName="vertSpace2b" presStyleCnt="0"/>
      <dgm:spPr/>
    </dgm:pt>
    <dgm:pt modelId="{3428C4F8-A49A-4E37-AB6C-80F4FDCF9238}" type="pres">
      <dgm:prSet presAssocID="{AECA7FDB-116F-4887-ADE5-67EE6F5E887E}" presName="horz2" presStyleCnt="0"/>
      <dgm:spPr/>
    </dgm:pt>
    <dgm:pt modelId="{6D6F36E1-E252-480B-B6FF-6B9E3DE43CD3}" type="pres">
      <dgm:prSet presAssocID="{AECA7FDB-116F-4887-ADE5-67EE6F5E887E}" presName="horzSpace2" presStyleCnt="0"/>
      <dgm:spPr/>
    </dgm:pt>
    <dgm:pt modelId="{5090BBF7-6B82-4B75-8C0F-12502E9F5CDE}" type="pres">
      <dgm:prSet presAssocID="{AECA7FDB-116F-4887-ADE5-67EE6F5E887E}" presName="tx2" presStyleLbl="revTx" presStyleIdx="17" presStyleCnt="19"/>
      <dgm:spPr/>
    </dgm:pt>
    <dgm:pt modelId="{B2EB7E82-12C6-4B40-BFE2-074F4B233A36}" type="pres">
      <dgm:prSet presAssocID="{AECA7FDB-116F-4887-ADE5-67EE6F5E887E}" presName="vert2" presStyleCnt="0"/>
      <dgm:spPr/>
    </dgm:pt>
    <dgm:pt modelId="{A4A918F2-A914-4818-810A-8E22CD36685D}" type="pres">
      <dgm:prSet presAssocID="{AECA7FDB-116F-4887-ADE5-67EE6F5E887E}" presName="thinLine2b" presStyleLbl="callout" presStyleIdx="13" presStyleCnt="15"/>
      <dgm:spPr/>
    </dgm:pt>
    <dgm:pt modelId="{F871E28C-FEEB-4184-B0A8-1C12ED37770C}" type="pres">
      <dgm:prSet presAssocID="{AECA7FDB-116F-4887-ADE5-67EE6F5E887E}" presName="vertSpace2b" presStyleCnt="0"/>
      <dgm:spPr/>
    </dgm:pt>
    <dgm:pt modelId="{0BD8EFD9-77B5-46B2-A903-AE4722F2E669}" type="pres">
      <dgm:prSet presAssocID="{8D0753CA-5967-4463-BAB5-BA0CD71AE359}" presName="horz2" presStyleCnt="0"/>
      <dgm:spPr/>
    </dgm:pt>
    <dgm:pt modelId="{80A4EBD5-AA44-4482-9F08-E2325C5CD1AD}" type="pres">
      <dgm:prSet presAssocID="{8D0753CA-5967-4463-BAB5-BA0CD71AE359}" presName="horzSpace2" presStyleCnt="0"/>
      <dgm:spPr/>
    </dgm:pt>
    <dgm:pt modelId="{940369E6-4555-4B2A-A8A8-C84FC0C35750}" type="pres">
      <dgm:prSet presAssocID="{8D0753CA-5967-4463-BAB5-BA0CD71AE359}" presName="tx2" presStyleLbl="revTx" presStyleIdx="18" presStyleCnt="19"/>
      <dgm:spPr/>
    </dgm:pt>
    <dgm:pt modelId="{B3A98711-BD32-4771-B9F5-C260A3C96BE5}" type="pres">
      <dgm:prSet presAssocID="{8D0753CA-5967-4463-BAB5-BA0CD71AE359}" presName="vert2" presStyleCnt="0"/>
      <dgm:spPr/>
    </dgm:pt>
    <dgm:pt modelId="{1E0B6678-EAA4-4395-8BEC-0A2548AB70B8}" type="pres">
      <dgm:prSet presAssocID="{8D0753CA-5967-4463-BAB5-BA0CD71AE359}" presName="thinLine2b" presStyleLbl="callout" presStyleIdx="14" presStyleCnt="15"/>
      <dgm:spPr/>
    </dgm:pt>
    <dgm:pt modelId="{B5DCCCEF-0699-4743-B7CC-4785AF05CBCB}" type="pres">
      <dgm:prSet presAssocID="{8D0753CA-5967-4463-BAB5-BA0CD71AE359}" presName="vertSpace2b" presStyleCnt="0"/>
      <dgm:spPr/>
    </dgm:pt>
  </dgm:ptLst>
  <dgm:cxnLst>
    <dgm:cxn modelId="{4023C601-B132-4536-AB2B-F561B19B619E}" type="presOf" srcId="{DCBCC11A-98FA-45F5-AFB8-254CBCD094F0}" destId="{DD313DA8-6722-4268-A82E-41C67B4E4CF9}" srcOrd="0" destOrd="0" presId="urn:microsoft.com/office/officeart/2008/layout/LinedList"/>
    <dgm:cxn modelId="{84BFD701-C735-442A-9E3D-64B5A323F12E}" type="presOf" srcId="{262B8CBF-C4ED-4C49-BC93-D85897721D9A}" destId="{A92A0BA4-0945-4E38-A261-2491ED675EC3}" srcOrd="0" destOrd="0" presId="urn:microsoft.com/office/officeart/2008/layout/LinedList"/>
    <dgm:cxn modelId="{9992AD09-F01E-4765-9BB0-B909F2409985}" type="presOf" srcId="{C9C2EEA4-5A21-4BCB-8EDA-36708361267B}" destId="{3EA9A40D-FC69-4C40-8071-B550C22A5F60}" srcOrd="0" destOrd="0" presId="urn:microsoft.com/office/officeart/2008/layout/LinedList"/>
    <dgm:cxn modelId="{3C4A290A-80E2-411C-A16E-8E33A326E597}" srcId="{C41F5168-6DD5-47AC-A1DA-712D7DA554A4}" destId="{28AEF2BF-2FB4-4DF8-AAF0-0524890E5DF9}" srcOrd="2" destOrd="0" parTransId="{0CC65302-E9A5-4A80-BF67-952662541C3C}" sibTransId="{D2F26911-5BEA-468E-AB9D-B90A36E6586A}"/>
    <dgm:cxn modelId="{696FBB0D-746C-4895-8E44-7CE1F418EE1A}" type="presOf" srcId="{C41F5168-6DD5-47AC-A1DA-712D7DA554A4}" destId="{F94FB8B5-34DB-4A8A-B75C-5244AE7CD9B6}" srcOrd="0" destOrd="0" presId="urn:microsoft.com/office/officeart/2008/layout/LinedList"/>
    <dgm:cxn modelId="{B48C6D12-37B8-4B54-A741-4125C71E76A4}" type="presOf" srcId="{D775912C-0C52-4A76-A7F0-0AFC4DBA153B}" destId="{FAE46182-B075-43AB-869D-7B6CBFB439E1}" srcOrd="0" destOrd="0" presId="urn:microsoft.com/office/officeart/2008/layout/LinedList"/>
    <dgm:cxn modelId="{4DB04E17-0CB2-40D9-B888-C9F6D8259505}" srcId="{76C1A8FD-05CE-4A0C-AFA8-1354BDBDC834}" destId="{AECA7FDB-116F-4887-ADE5-67EE6F5E887E}" srcOrd="2" destOrd="0" parTransId="{3A430B5D-7B1E-4C19-927E-6EE94532A2A5}" sibTransId="{E22A3917-9ECA-4D74-886B-7CE369421FC2}"/>
    <dgm:cxn modelId="{DF899C23-5DC7-4838-A565-378E7C6D7743}" srcId="{28AEF2BF-2FB4-4DF8-AAF0-0524890E5DF9}" destId="{2788F917-6692-485C-B7A3-CC7CE94ABB61}" srcOrd="1" destOrd="0" parTransId="{7D67FD93-7AC5-499A-B9DE-AC4EF2D81F5F}" sibTransId="{5C23804F-C141-4953-804B-2103B161BB38}"/>
    <dgm:cxn modelId="{489FA034-41D6-44A3-8D12-E153132EB7F3}" srcId="{76C1A8FD-05CE-4A0C-AFA8-1354BDBDC834}" destId="{8D0753CA-5967-4463-BAB5-BA0CD71AE359}" srcOrd="3" destOrd="0" parTransId="{13E0531F-6A79-4D63-8487-5F1BD03FF5FB}" sibTransId="{930BAC37-4DB4-4297-8A4F-8ECE05D6C54A}"/>
    <dgm:cxn modelId="{8C3AD541-E538-49F1-8D00-9E3B46DCD878}" srcId="{262B8CBF-C4ED-4C49-BC93-D85897721D9A}" destId="{5956D536-E652-4906-A9DA-17A08CD55705}" srcOrd="2" destOrd="0" parTransId="{187E25F5-713C-4FE4-85B9-CCADDA66E024}" sibTransId="{B3F5DA4F-7087-4EFF-B4E1-671D423DD92B}"/>
    <dgm:cxn modelId="{95112963-0C53-462D-9D2C-59DA410117A6}" srcId="{A2AAEC0A-EFFC-44C1-873A-C0C759A4D6C5}" destId="{7A236E01-F550-44B7-99BB-4CD5A0610079}" srcOrd="1" destOrd="0" parTransId="{7AD2D878-8C42-49ED-BD77-44FBA9124461}" sibTransId="{60B27389-F024-43B8-A5BA-9A965B97FF2D}"/>
    <dgm:cxn modelId="{D3BE5366-456C-4FD6-AD45-A11EFEE7450D}" type="presOf" srcId="{436EC352-77B4-441D-B4FB-EE96596591AD}" destId="{AEC0CCCB-48BB-46A3-8467-D508EEFC0DBF}" srcOrd="0" destOrd="0" presId="urn:microsoft.com/office/officeart/2008/layout/LinedList"/>
    <dgm:cxn modelId="{BEF13C4A-E4DA-433D-BDD5-5DAF55F4DF64}" type="presOf" srcId="{2788F917-6692-485C-B7A3-CC7CE94ABB61}" destId="{A8D85432-8A2F-4188-B4D3-4FF6B0A5AE5E}" srcOrd="0" destOrd="0" presId="urn:microsoft.com/office/officeart/2008/layout/LinedList"/>
    <dgm:cxn modelId="{43800E53-8F75-48BA-B759-AFC3E9A794DE}" srcId="{262B8CBF-C4ED-4C49-BC93-D85897721D9A}" destId="{DACC0406-DC06-4FA9-BDEE-A0DD6137E80E}" srcOrd="0" destOrd="0" parTransId="{A3D4A051-4EF0-4E03-A3A9-F5141748A225}" sibTransId="{F02D8462-F182-45E4-9A06-F9EE3AECEE8C}"/>
    <dgm:cxn modelId="{CC239A54-258E-4BCB-8F46-84246341EBEC}" srcId="{76C1A8FD-05CE-4A0C-AFA8-1354BDBDC834}" destId="{DE57743C-6123-413E-8267-795F0DBB4180}" srcOrd="0" destOrd="0" parTransId="{E280C945-AF9D-4B18-A26E-050184B08DC8}" sibTransId="{D9FD30D3-CE1F-451C-84B1-1EED19F54744}"/>
    <dgm:cxn modelId="{A1A57F76-4924-4A08-A608-8A23CC73A24A}" srcId="{262B8CBF-C4ED-4C49-BC93-D85897721D9A}" destId="{436EC352-77B4-441D-B4FB-EE96596591AD}" srcOrd="3" destOrd="0" parTransId="{86D796D6-8AA3-47B2-8CA7-4C0DF2702E87}" sibTransId="{E4B266E5-23FA-44D0-95DD-52DE11AC5D91}"/>
    <dgm:cxn modelId="{985EF477-9AF7-4260-AA6B-290E865B53A2}" srcId="{76C1A8FD-05CE-4A0C-AFA8-1354BDBDC834}" destId="{D775912C-0C52-4A76-A7F0-0AFC4DBA153B}" srcOrd="1" destOrd="0" parTransId="{4FDD7580-C608-4F05-B1B4-AADC38759B21}" sibTransId="{23963969-DFB8-45C9-9323-9877B566C6AD}"/>
    <dgm:cxn modelId="{DD38407D-6B3E-4D89-BC88-64492B3AA246}" srcId="{262B8CBF-C4ED-4C49-BC93-D85897721D9A}" destId="{DCBCC11A-98FA-45F5-AFB8-254CBCD094F0}" srcOrd="1" destOrd="0" parTransId="{7604196D-5D4F-4592-99F9-6662634BCC45}" sibTransId="{B93B609E-30A5-4E1B-905D-3A01AD148459}"/>
    <dgm:cxn modelId="{61C9F189-BAB3-41E0-A192-D0E4F2FC6329}" srcId="{A2AAEC0A-EFFC-44C1-873A-C0C759A4D6C5}" destId="{0029C570-16C6-4C03-AE23-3F06594F4AE0}" srcOrd="3" destOrd="0" parTransId="{916497EE-0321-44DC-AF73-345EFCEFE75E}" sibTransId="{B4C12321-7F40-46D3-BF23-90276B9FD51C}"/>
    <dgm:cxn modelId="{A4ECC18C-99F4-4568-8B5B-F64599B342B1}" type="presOf" srcId="{DACC0406-DC06-4FA9-BDEE-A0DD6137E80E}" destId="{3C6AF8C2-EAE6-4F5D-AF29-CB729CA7E604}" srcOrd="0" destOrd="0" presId="urn:microsoft.com/office/officeart/2008/layout/LinedList"/>
    <dgm:cxn modelId="{B1682E99-A9FA-4B5D-8CA5-509D1BCA5113}" type="presOf" srcId="{A2AAEC0A-EFFC-44C1-873A-C0C759A4D6C5}" destId="{9C5866AB-59EF-4F1C-8183-4FA097E2EAB2}" srcOrd="0" destOrd="0" presId="urn:microsoft.com/office/officeart/2008/layout/LinedList"/>
    <dgm:cxn modelId="{A4B03999-49A2-4399-9113-B893D45CE371}" type="presOf" srcId="{8D0753CA-5967-4463-BAB5-BA0CD71AE359}" destId="{940369E6-4555-4B2A-A8A8-C84FC0C35750}" srcOrd="0" destOrd="0" presId="urn:microsoft.com/office/officeart/2008/layout/LinedList"/>
    <dgm:cxn modelId="{0685DD9B-3C93-494B-9C19-5E6BD96DF07C}" type="presOf" srcId="{7A236E01-F550-44B7-99BB-4CD5A0610079}" destId="{CB97DA48-B9FE-46D1-AC86-A5C7852C5C00}" srcOrd="0" destOrd="0" presId="urn:microsoft.com/office/officeart/2008/layout/LinedList"/>
    <dgm:cxn modelId="{8DF4199C-0EA6-4883-A958-0E3AD754A718}" srcId="{28AEF2BF-2FB4-4DF8-AAF0-0524890E5DF9}" destId="{EE2836B3-49B6-4C11-AE2D-28B943E5A2E6}" srcOrd="2" destOrd="0" parTransId="{D41D9F23-4DD7-439F-BF23-C3DA465342D7}" sibTransId="{87AE3D83-0D00-4112-BC60-D208D62B0E5F}"/>
    <dgm:cxn modelId="{C44A50AF-BFED-4AC9-A9E4-18BC9DA97AE5}" type="presOf" srcId="{C3CE9977-DE4F-435F-8986-8384D76E1DCA}" destId="{07821BBB-2D49-4E58-8C52-2EFF5C42A35A}" srcOrd="0" destOrd="0" presId="urn:microsoft.com/office/officeart/2008/layout/LinedList"/>
    <dgm:cxn modelId="{DE0210BE-2C48-47C5-9B09-9A99AA5D7596}" srcId="{28AEF2BF-2FB4-4DF8-AAF0-0524890E5DF9}" destId="{C9C2EEA4-5A21-4BCB-8EDA-36708361267B}" srcOrd="0" destOrd="0" parTransId="{8107654B-B6CA-47E8-B618-D32C9B19AEAE}" sibTransId="{8AD3E658-3B01-4E6B-B2D8-1FD5EDE8FFC3}"/>
    <dgm:cxn modelId="{7DB8A8C8-09DE-46B7-B6C7-96BBBD719300}" type="presOf" srcId="{D7265A2A-B5B8-4CC0-9CA8-36D16CB9FC0E}" destId="{F5059257-5205-4CD2-955D-631EE8914350}" srcOrd="0" destOrd="0" presId="urn:microsoft.com/office/officeart/2008/layout/LinedList"/>
    <dgm:cxn modelId="{9AE295CC-8C3A-40B3-A731-176FAA48A754}" type="presOf" srcId="{EE2836B3-49B6-4C11-AE2D-28B943E5A2E6}" destId="{34F5590F-DF18-451E-A3A8-828A38655CD4}" srcOrd="0" destOrd="0" presId="urn:microsoft.com/office/officeart/2008/layout/LinedList"/>
    <dgm:cxn modelId="{C9713BCE-FFA9-474B-A119-2879030917A0}" type="presOf" srcId="{AECA7FDB-116F-4887-ADE5-67EE6F5E887E}" destId="{5090BBF7-6B82-4B75-8C0F-12502E9F5CDE}" srcOrd="0" destOrd="0" presId="urn:microsoft.com/office/officeart/2008/layout/LinedList"/>
    <dgm:cxn modelId="{A540A0D5-6176-41BB-9907-05DA34EC58E0}" srcId="{A2AAEC0A-EFFC-44C1-873A-C0C759A4D6C5}" destId="{C3CE9977-DE4F-435F-8986-8384D76E1DCA}" srcOrd="0" destOrd="0" parTransId="{71104F41-F4D2-4880-BCEE-EC65C79AC1E1}" sibTransId="{199836DA-4CBB-4A41-B7F9-49AC61BC9B22}"/>
    <dgm:cxn modelId="{D51FB5DE-68EF-43CB-BF98-D7C8FFEC3F68}" srcId="{A2AAEC0A-EFFC-44C1-873A-C0C759A4D6C5}" destId="{D7265A2A-B5B8-4CC0-9CA8-36D16CB9FC0E}" srcOrd="2" destOrd="0" parTransId="{C43CC387-D501-4FDA-802B-8682D05D8272}" sibTransId="{D1B0916E-BB5D-4347-A1E3-33A802CCCD10}"/>
    <dgm:cxn modelId="{67CFFDDE-704F-4861-BFB0-CEE40422ED95}" srcId="{C41F5168-6DD5-47AC-A1DA-712D7DA554A4}" destId="{A2AAEC0A-EFFC-44C1-873A-C0C759A4D6C5}" srcOrd="0" destOrd="0" parTransId="{CD21C42B-D724-453D-B2CB-4BEC077E6564}" sibTransId="{93F5A712-0D3D-427A-B628-EF9CBEB4F8C7}"/>
    <dgm:cxn modelId="{7BFD9EE0-4405-4209-A12B-DD9B7B88416C}" type="presOf" srcId="{DE57743C-6123-413E-8267-795F0DBB4180}" destId="{13482DE6-51FC-41CF-9078-04E278CCFD2C}" srcOrd="0" destOrd="0" presId="urn:microsoft.com/office/officeart/2008/layout/LinedList"/>
    <dgm:cxn modelId="{70B2C1E0-D16E-4B2E-8290-5579E55FF408}" type="presOf" srcId="{5956D536-E652-4906-A9DA-17A08CD55705}" destId="{3175CFF6-4EF2-48FE-98E7-F1EC74F1C883}" srcOrd="0" destOrd="0" presId="urn:microsoft.com/office/officeart/2008/layout/LinedList"/>
    <dgm:cxn modelId="{A5AF14E4-9F48-4216-B2B5-631D65FBCBE5}" type="presOf" srcId="{76C1A8FD-05CE-4A0C-AFA8-1354BDBDC834}" destId="{39A3B301-AE3A-46A3-B87B-F7F0B663D051}" srcOrd="0" destOrd="0" presId="urn:microsoft.com/office/officeart/2008/layout/LinedList"/>
    <dgm:cxn modelId="{C9281BE7-A222-47D5-B95D-CB847F30A61B}" type="presOf" srcId="{0029C570-16C6-4C03-AE23-3F06594F4AE0}" destId="{52AA3B61-92C8-4113-A9D0-3BCE4A8064F6}" srcOrd="0" destOrd="0" presId="urn:microsoft.com/office/officeart/2008/layout/LinedList"/>
    <dgm:cxn modelId="{861CB3E8-85EC-4E73-9002-A013C0768F71}" srcId="{C41F5168-6DD5-47AC-A1DA-712D7DA554A4}" destId="{262B8CBF-C4ED-4C49-BC93-D85897721D9A}" srcOrd="1" destOrd="0" parTransId="{BCA26072-A917-476F-A8D5-41F62DE470D2}" sibTransId="{438F4B41-13ED-4CB9-9061-053068A51F94}"/>
    <dgm:cxn modelId="{C5D78CED-6DAF-494A-BD35-6DBD355D0278}" srcId="{C41F5168-6DD5-47AC-A1DA-712D7DA554A4}" destId="{76C1A8FD-05CE-4A0C-AFA8-1354BDBDC834}" srcOrd="3" destOrd="0" parTransId="{CC235941-6A0B-4698-B402-838AD1C5BE00}" sibTransId="{3C4FBB90-2B21-4D92-9DA0-44071269EE9A}"/>
    <dgm:cxn modelId="{7532B3F6-DE2B-4249-AA9B-9E8F52364703}" type="presOf" srcId="{28AEF2BF-2FB4-4DF8-AAF0-0524890E5DF9}" destId="{3DED8D65-2801-4CA0-9F1E-7E1443A2BC54}" srcOrd="0" destOrd="0" presId="urn:microsoft.com/office/officeart/2008/layout/LinedList"/>
    <dgm:cxn modelId="{5F213736-934A-4AA2-A569-48E1FF99501F}" type="presParOf" srcId="{F94FB8B5-34DB-4A8A-B75C-5244AE7CD9B6}" destId="{6D5B7B05-87C6-4FFE-ADD0-F073E23C1C40}" srcOrd="0" destOrd="0" presId="urn:microsoft.com/office/officeart/2008/layout/LinedList"/>
    <dgm:cxn modelId="{242E1BDE-952E-43E7-8F8C-A73D5650C2F5}" type="presParOf" srcId="{F94FB8B5-34DB-4A8A-B75C-5244AE7CD9B6}" destId="{09CF2907-D513-4332-A0E2-E828E4480AA3}" srcOrd="1" destOrd="0" presId="urn:microsoft.com/office/officeart/2008/layout/LinedList"/>
    <dgm:cxn modelId="{AB700056-FECD-4697-951B-001196741B91}" type="presParOf" srcId="{09CF2907-D513-4332-A0E2-E828E4480AA3}" destId="{9C5866AB-59EF-4F1C-8183-4FA097E2EAB2}" srcOrd="0" destOrd="0" presId="urn:microsoft.com/office/officeart/2008/layout/LinedList"/>
    <dgm:cxn modelId="{800BE87B-98A6-4A47-8FC0-565FCB965ED4}" type="presParOf" srcId="{09CF2907-D513-4332-A0E2-E828E4480AA3}" destId="{969F6527-1A30-4E5A-95DC-FB2568897341}" srcOrd="1" destOrd="0" presId="urn:microsoft.com/office/officeart/2008/layout/LinedList"/>
    <dgm:cxn modelId="{715D8146-1A61-4F73-B734-FEF10FC713EF}" type="presParOf" srcId="{969F6527-1A30-4E5A-95DC-FB2568897341}" destId="{8330D68A-6812-4763-B9EF-33A1F8452CD5}" srcOrd="0" destOrd="0" presId="urn:microsoft.com/office/officeart/2008/layout/LinedList"/>
    <dgm:cxn modelId="{004A16D4-B72F-40CC-B330-18A9202866A6}" type="presParOf" srcId="{969F6527-1A30-4E5A-95DC-FB2568897341}" destId="{F335A0F6-79F2-4332-A4AF-F6C3D0A93ED5}" srcOrd="1" destOrd="0" presId="urn:microsoft.com/office/officeart/2008/layout/LinedList"/>
    <dgm:cxn modelId="{02754B51-1C2E-499C-9D4C-19E4A3087C4C}" type="presParOf" srcId="{F335A0F6-79F2-4332-A4AF-F6C3D0A93ED5}" destId="{8D8104FA-F946-4471-AFC6-3DEA83484B0C}" srcOrd="0" destOrd="0" presId="urn:microsoft.com/office/officeart/2008/layout/LinedList"/>
    <dgm:cxn modelId="{0E1A85A1-F397-4A3F-939F-3E50E4B7186E}" type="presParOf" srcId="{F335A0F6-79F2-4332-A4AF-F6C3D0A93ED5}" destId="{07821BBB-2D49-4E58-8C52-2EFF5C42A35A}" srcOrd="1" destOrd="0" presId="urn:microsoft.com/office/officeart/2008/layout/LinedList"/>
    <dgm:cxn modelId="{FF9C2220-623B-4514-9D3D-9625F298B1EC}" type="presParOf" srcId="{F335A0F6-79F2-4332-A4AF-F6C3D0A93ED5}" destId="{CC5BA7E7-AAB2-44C7-896F-6AE7276FB8EE}" srcOrd="2" destOrd="0" presId="urn:microsoft.com/office/officeart/2008/layout/LinedList"/>
    <dgm:cxn modelId="{C46825C6-D8CD-4EC2-B6EB-59714FE1C660}" type="presParOf" srcId="{969F6527-1A30-4E5A-95DC-FB2568897341}" destId="{9D6C9090-3449-49F3-A926-3FF41361D091}" srcOrd="2" destOrd="0" presId="urn:microsoft.com/office/officeart/2008/layout/LinedList"/>
    <dgm:cxn modelId="{8360AA94-FABA-4715-9896-C6A6540BCE3B}" type="presParOf" srcId="{969F6527-1A30-4E5A-95DC-FB2568897341}" destId="{D939F5CC-2C48-4FF0-BF32-8547757BA403}" srcOrd="3" destOrd="0" presId="urn:microsoft.com/office/officeart/2008/layout/LinedList"/>
    <dgm:cxn modelId="{EE34CE4B-9DD5-48A1-8881-E74C1E0A3D08}" type="presParOf" srcId="{969F6527-1A30-4E5A-95DC-FB2568897341}" destId="{24710832-C97B-4427-91C0-B30C47CE5EBC}" srcOrd="4" destOrd="0" presId="urn:microsoft.com/office/officeart/2008/layout/LinedList"/>
    <dgm:cxn modelId="{3E21534E-7FE6-4388-B176-A9FBF34C7BAC}" type="presParOf" srcId="{24710832-C97B-4427-91C0-B30C47CE5EBC}" destId="{BDAB6036-2E02-4D21-886B-D1EDCD2AEA89}" srcOrd="0" destOrd="0" presId="urn:microsoft.com/office/officeart/2008/layout/LinedList"/>
    <dgm:cxn modelId="{FB9F008C-3E18-41FA-BCBF-7326D9635A33}" type="presParOf" srcId="{24710832-C97B-4427-91C0-B30C47CE5EBC}" destId="{CB97DA48-B9FE-46D1-AC86-A5C7852C5C00}" srcOrd="1" destOrd="0" presId="urn:microsoft.com/office/officeart/2008/layout/LinedList"/>
    <dgm:cxn modelId="{27EEACBA-EA3C-423D-861F-FAF0F53962C0}" type="presParOf" srcId="{24710832-C97B-4427-91C0-B30C47CE5EBC}" destId="{56BB4B0C-E55D-45F3-96DE-4A0F3E2E3576}" srcOrd="2" destOrd="0" presId="urn:microsoft.com/office/officeart/2008/layout/LinedList"/>
    <dgm:cxn modelId="{09831EF1-33A7-46C0-A018-E12FD9E9B3FC}" type="presParOf" srcId="{969F6527-1A30-4E5A-95DC-FB2568897341}" destId="{32C4C2CD-D417-466C-A48A-9915C567F733}" srcOrd="5" destOrd="0" presId="urn:microsoft.com/office/officeart/2008/layout/LinedList"/>
    <dgm:cxn modelId="{7CAEFA7C-E385-464D-915A-10230ACA5919}" type="presParOf" srcId="{969F6527-1A30-4E5A-95DC-FB2568897341}" destId="{F252635D-8E35-450E-88F1-840A5BF715BF}" srcOrd="6" destOrd="0" presId="urn:microsoft.com/office/officeart/2008/layout/LinedList"/>
    <dgm:cxn modelId="{DD3195E1-4A49-4674-89C3-5C1CE31BFBA7}" type="presParOf" srcId="{969F6527-1A30-4E5A-95DC-FB2568897341}" destId="{97FA7401-48F6-4312-8A97-08A991CCB96C}" srcOrd="7" destOrd="0" presId="urn:microsoft.com/office/officeart/2008/layout/LinedList"/>
    <dgm:cxn modelId="{31B14262-9E42-4E57-BCC1-4869C7DB6D43}" type="presParOf" srcId="{97FA7401-48F6-4312-8A97-08A991CCB96C}" destId="{7191886B-B980-49F3-9C10-455AA5B83071}" srcOrd="0" destOrd="0" presId="urn:microsoft.com/office/officeart/2008/layout/LinedList"/>
    <dgm:cxn modelId="{A318B557-3F6D-4B73-92AA-9D626C9A7382}" type="presParOf" srcId="{97FA7401-48F6-4312-8A97-08A991CCB96C}" destId="{F5059257-5205-4CD2-955D-631EE8914350}" srcOrd="1" destOrd="0" presId="urn:microsoft.com/office/officeart/2008/layout/LinedList"/>
    <dgm:cxn modelId="{535FA892-9CFF-4D60-A051-592D78EB8095}" type="presParOf" srcId="{97FA7401-48F6-4312-8A97-08A991CCB96C}" destId="{CE5E8BF5-2C9E-443F-8FBB-B653F5C65087}" srcOrd="2" destOrd="0" presId="urn:microsoft.com/office/officeart/2008/layout/LinedList"/>
    <dgm:cxn modelId="{12C5A26C-8BF3-47FD-AC4B-EF6DC1737653}" type="presParOf" srcId="{969F6527-1A30-4E5A-95DC-FB2568897341}" destId="{AC0F9F29-C5D4-4A83-AE67-80752EDFA98B}" srcOrd="8" destOrd="0" presId="urn:microsoft.com/office/officeart/2008/layout/LinedList"/>
    <dgm:cxn modelId="{F12F0FD4-700D-496C-A1BB-5C38F9C43BCA}" type="presParOf" srcId="{969F6527-1A30-4E5A-95DC-FB2568897341}" destId="{9C767E18-873A-44A3-B4B3-5378FAD3999D}" srcOrd="9" destOrd="0" presId="urn:microsoft.com/office/officeart/2008/layout/LinedList"/>
    <dgm:cxn modelId="{21C271FE-D965-49D0-B1FA-005452566478}" type="presParOf" srcId="{969F6527-1A30-4E5A-95DC-FB2568897341}" destId="{B8887050-CCCD-43FA-9B52-F02F7431897A}" srcOrd="10" destOrd="0" presId="urn:microsoft.com/office/officeart/2008/layout/LinedList"/>
    <dgm:cxn modelId="{8BF3DAF3-7FB8-457A-BC09-6EEC8080EE14}" type="presParOf" srcId="{B8887050-CCCD-43FA-9B52-F02F7431897A}" destId="{CA5BFE79-B1A2-46A0-A4D9-D7FCB2F028AC}" srcOrd="0" destOrd="0" presId="urn:microsoft.com/office/officeart/2008/layout/LinedList"/>
    <dgm:cxn modelId="{0CCA884B-D69A-415B-97B8-850655BF2DC9}" type="presParOf" srcId="{B8887050-CCCD-43FA-9B52-F02F7431897A}" destId="{52AA3B61-92C8-4113-A9D0-3BCE4A8064F6}" srcOrd="1" destOrd="0" presId="urn:microsoft.com/office/officeart/2008/layout/LinedList"/>
    <dgm:cxn modelId="{682B7638-4EEF-4428-B7AB-821B55BC72C3}" type="presParOf" srcId="{B8887050-CCCD-43FA-9B52-F02F7431897A}" destId="{4A7985BC-A528-4313-A212-FB275CECEB22}" srcOrd="2" destOrd="0" presId="urn:microsoft.com/office/officeart/2008/layout/LinedList"/>
    <dgm:cxn modelId="{68E7FE0B-5F7D-433F-B29F-7FEF5290AD32}" type="presParOf" srcId="{969F6527-1A30-4E5A-95DC-FB2568897341}" destId="{C986D100-647B-4493-84EB-F38F40220450}" srcOrd="11" destOrd="0" presId="urn:microsoft.com/office/officeart/2008/layout/LinedList"/>
    <dgm:cxn modelId="{934E0DF2-7B33-41A7-B316-096B295070CD}" type="presParOf" srcId="{969F6527-1A30-4E5A-95DC-FB2568897341}" destId="{BFFD0BCE-8DCB-4870-9929-3236AFBDC365}" srcOrd="12" destOrd="0" presId="urn:microsoft.com/office/officeart/2008/layout/LinedList"/>
    <dgm:cxn modelId="{C5474E3B-6C7B-4795-BF6D-EA8A7E7F9E97}" type="presParOf" srcId="{F94FB8B5-34DB-4A8A-B75C-5244AE7CD9B6}" destId="{31FF0D7E-CD9B-420B-A0C0-38309E5D335A}" srcOrd="2" destOrd="0" presId="urn:microsoft.com/office/officeart/2008/layout/LinedList"/>
    <dgm:cxn modelId="{818CE89C-ABDD-4B3C-9C2D-7563301F76B1}" type="presParOf" srcId="{F94FB8B5-34DB-4A8A-B75C-5244AE7CD9B6}" destId="{3A738A29-4404-4612-8DD2-953603B77C55}" srcOrd="3" destOrd="0" presId="urn:microsoft.com/office/officeart/2008/layout/LinedList"/>
    <dgm:cxn modelId="{100A68CA-9556-42D7-9653-B5DAE7BD2ADB}" type="presParOf" srcId="{3A738A29-4404-4612-8DD2-953603B77C55}" destId="{A92A0BA4-0945-4E38-A261-2491ED675EC3}" srcOrd="0" destOrd="0" presId="urn:microsoft.com/office/officeart/2008/layout/LinedList"/>
    <dgm:cxn modelId="{7B0B0FEE-AF87-467C-875B-962B030ECB59}" type="presParOf" srcId="{3A738A29-4404-4612-8DD2-953603B77C55}" destId="{8727B500-8D08-442E-AE07-2A9619464686}" srcOrd="1" destOrd="0" presId="urn:microsoft.com/office/officeart/2008/layout/LinedList"/>
    <dgm:cxn modelId="{43E7B2E2-8188-48DF-B311-C03C4B5BF217}" type="presParOf" srcId="{8727B500-8D08-442E-AE07-2A9619464686}" destId="{F92941DF-AFB6-4484-9A66-8162CC35DA4D}" srcOrd="0" destOrd="0" presId="urn:microsoft.com/office/officeart/2008/layout/LinedList"/>
    <dgm:cxn modelId="{DA799435-0111-4D81-9845-9A20A2D044B9}" type="presParOf" srcId="{8727B500-8D08-442E-AE07-2A9619464686}" destId="{A3D6154B-63F6-4533-8DAE-70F7A9A377D8}" srcOrd="1" destOrd="0" presId="urn:microsoft.com/office/officeart/2008/layout/LinedList"/>
    <dgm:cxn modelId="{923E6DBD-A33A-4C85-892B-66E2FF510846}" type="presParOf" srcId="{A3D6154B-63F6-4533-8DAE-70F7A9A377D8}" destId="{53FDD055-417F-4DBE-87CE-89AE90A5ACA6}" srcOrd="0" destOrd="0" presId="urn:microsoft.com/office/officeart/2008/layout/LinedList"/>
    <dgm:cxn modelId="{8B0C597C-69A0-4A95-BA54-CB24FC91AF3F}" type="presParOf" srcId="{A3D6154B-63F6-4533-8DAE-70F7A9A377D8}" destId="{3C6AF8C2-EAE6-4F5D-AF29-CB729CA7E604}" srcOrd="1" destOrd="0" presId="urn:microsoft.com/office/officeart/2008/layout/LinedList"/>
    <dgm:cxn modelId="{10E94E85-DAA0-46C0-883F-A3A80C6E4FB3}" type="presParOf" srcId="{A3D6154B-63F6-4533-8DAE-70F7A9A377D8}" destId="{1E88988E-796E-48E0-811B-79FF92A33DAE}" srcOrd="2" destOrd="0" presId="urn:microsoft.com/office/officeart/2008/layout/LinedList"/>
    <dgm:cxn modelId="{845E7479-A029-4956-8E38-5AD436D93BFB}" type="presParOf" srcId="{8727B500-8D08-442E-AE07-2A9619464686}" destId="{823C9A80-4451-4AA5-A202-E2A60B6F5DF1}" srcOrd="2" destOrd="0" presId="urn:microsoft.com/office/officeart/2008/layout/LinedList"/>
    <dgm:cxn modelId="{C84FF577-B85E-4BC2-9115-2475BBBB9135}" type="presParOf" srcId="{8727B500-8D08-442E-AE07-2A9619464686}" destId="{844FCCFD-2192-4FBA-8323-BCB51237FD71}" srcOrd="3" destOrd="0" presId="urn:microsoft.com/office/officeart/2008/layout/LinedList"/>
    <dgm:cxn modelId="{B34D600B-9419-49A8-98D2-21E3D9FE462C}" type="presParOf" srcId="{8727B500-8D08-442E-AE07-2A9619464686}" destId="{5E66EF0C-8CAC-43F1-B959-942A6D1632DC}" srcOrd="4" destOrd="0" presId="urn:microsoft.com/office/officeart/2008/layout/LinedList"/>
    <dgm:cxn modelId="{DFE25612-CDCB-4417-9AB8-9A149ADF039A}" type="presParOf" srcId="{5E66EF0C-8CAC-43F1-B959-942A6D1632DC}" destId="{3907F00D-4FA0-4079-9443-F9C7602C06F3}" srcOrd="0" destOrd="0" presId="urn:microsoft.com/office/officeart/2008/layout/LinedList"/>
    <dgm:cxn modelId="{8F8703CA-D34C-43F8-AB36-EEA23A77EA77}" type="presParOf" srcId="{5E66EF0C-8CAC-43F1-B959-942A6D1632DC}" destId="{DD313DA8-6722-4268-A82E-41C67B4E4CF9}" srcOrd="1" destOrd="0" presId="urn:microsoft.com/office/officeart/2008/layout/LinedList"/>
    <dgm:cxn modelId="{84B3B25C-E3D8-48BA-B144-B083CF29AA75}" type="presParOf" srcId="{5E66EF0C-8CAC-43F1-B959-942A6D1632DC}" destId="{65B3C447-1670-47E4-8117-1BC788A2282F}" srcOrd="2" destOrd="0" presId="urn:microsoft.com/office/officeart/2008/layout/LinedList"/>
    <dgm:cxn modelId="{C81F02BA-E1C7-4C52-9AB1-CC5FEE347A35}" type="presParOf" srcId="{8727B500-8D08-442E-AE07-2A9619464686}" destId="{693D6E36-CE33-4BB8-97A3-2F35DA18C977}" srcOrd="5" destOrd="0" presId="urn:microsoft.com/office/officeart/2008/layout/LinedList"/>
    <dgm:cxn modelId="{F1A82FB7-2923-48AB-9ECA-4D331E3CC86F}" type="presParOf" srcId="{8727B500-8D08-442E-AE07-2A9619464686}" destId="{B3EA6F17-BC45-40EB-9381-840077FAC91E}" srcOrd="6" destOrd="0" presId="urn:microsoft.com/office/officeart/2008/layout/LinedList"/>
    <dgm:cxn modelId="{E72F73F2-023E-48E5-9D74-972DA71FD91E}" type="presParOf" srcId="{8727B500-8D08-442E-AE07-2A9619464686}" destId="{5D778381-A3AC-47D9-8A36-AD6760240653}" srcOrd="7" destOrd="0" presId="urn:microsoft.com/office/officeart/2008/layout/LinedList"/>
    <dgm:cxn modelId="{06700B8C-9D64-4EAC-B62C-9C9F2069A308}" type="presParOf" srcId="{5D778381-A3AC-47D9-8A36-AD6760240653}" destId="{B8F06D71-6E06-45FA-B751-F5EAC1FFDE9C}" srcOrd="0" destOrd="0" presId="urn:microsoft.com/office/officeart/2008/layout/LinedList"/>
    <dgm:cxn modelId="{68D22921-E90E-47FA-85A8-0279142BF2BF}" type="presParOf" srcId="{5D778381-A3AC-47D9-8A36-AD6760240653}" destId="{3175CFF6-4EF2-48FE-98E7-F1EC74F1C883}" srcOrd="1" destOrd="0" presId="urn:microsoft.com/office/officeart/2008/layout/LinedList"/>
    <dgm:cxn modelId="{8E8FFE7A-4294-452A-84B9-374CD8440F81}" type="presParOf" srcId="{5D778381-A3AC-47D9-8A36-AD6760240653}" destId="{F24A6493-19BA-4241-8ECE-3AA1B005003C}" srcOrd="2" destOrd="0" presId="urn:microsoft.com/office/officeart/2008/layout/LinedList"/>
    <dgm:cxn modelId="{2649FB8A-652E-4457-A98E-D8B3E23A673F}" type="presParOf" srcId="{8727B500-8D08-442E-AE07-2A9619464686}" destId="{E5625D70-0D9C-4264-8180-0DBCBF16286F}" srcOrd="8" destOrd="0" presId="urn:microsoft.com/office/officeart/2008/layout/LinedList"/>
    <dgm:cxn modelId="{136D13DE-6725-4E42-BD11-DAC0A3FDB397}" type="presParOf" srcId="{8727B500-8D08-442E-AE07-2A9619464686}" destId="{6CCFFB81-DF28-4173-A5E5-94474F176CCC}" srcOrd="9" destOrd="0" presId="urn:microsoft.com/office/officeart/2008/layout/LinedList"/>
    <dgm:cxn modelId="{A12A7B92-2573-4C2E-82DA-322BBCD25699}" type="presParOf" srcId="{8727B500-8D08-442E-AE07-2A9619464686}" destId="{EF774C4C-E181-4FDC-9242-F747BAA9187D}" srcOrd="10" destOrd="0" presId="urn:microsoft.com/office/officeart/2008/layout/LinedList"/>
    <dgm:cxn modelId="{8D38E291-AA7B-4189-8A7A-4618C3148B53}" type="presParOf" srcId="{EF774C4C-E181-4FDC-9242-F747BAA9187D}" destId="{423891BF-25C8-4646-B48D-5F3B1303E6CC}" srcOrd="0" destOrd="0" presId="urn:microsoft.com/office/officeart/2008/layout/LinedList"/>
    <dgm:cxn modelId="{17B8AB61-01E7-4527-A375-11CCC5C5EBE5}" type="presParOf" srcId="{EF774C4C-E181-4FDC-9242-F747BAA9187D}" destId="{AEC0CCCB-48BB-46A3-8467-D508EEFC0DBF}" srcOrd="1" destOrd="0" presId="urn:microsoft.com/office/officeart/2008/layout/LinedList"/>
    <dgm:cxn modelId="{6EB26263-E9B8-44A2-BD88-D995636D5269}" type="presParOf" srcId="{EF774C4C-E181-4FDC-9242-F747BAA9187D}" destId="{24AE0682-EF69-4729-A1FA-181DA6F9BBF3}" srcOrd="2" destOrd="0" presId="urn:microsoft.com/office/officeart/2008/layout/LinedList"/>
    <dgm:cxn modelId="{E4AC2ECB-2F84-4F8E-9292-02FA8417C223}" type="presParOf" srcId="{8727B500-8D08-442E-AE07-2A9619464686}" destId="{ABA0F64C-2A79-4226-88B6-5C9C388A6B8F}" srcOrd="11" destOrd="0" presId="urn:microsoft.com/office/officeart/2008/layout/LinedList"/>
    <dgm:cxn modelId="{04704097-F941-46ED-95D9-5CAAA8EE2026}" type="presParOf" srcId="{8727B500-8D08-442E-AE07-2A9619464686}" destId="{0F1E1147-8746-4666-A5E2-C81A02FD9CE2}" srcOrd="12" destOrd="0" presId="urn:microsoft.com/office/officeart/2008/layout/LinedList"/>
    <dgm:cxn modelId="{6987038F-6122-4287-A7A4-61B03ED83305}" type="presParOf" srcId="{F94FB8B5-34DB-4A8A-B75C-5244AE7CD9B6}" destId="{5C5340A9-2C43-4A25-9D7A-0B0F0C1CA4EF}" srcOrd="4" destOrd="0" presId="urn:microsoft.com/office/officeart/2008/layout/LinedList"/>
    <dgm:cxn modelId="{ECA098B3-94EA-45A9-B180-93D66A780AED}" type="presParOf" srcId="{F94FB8B5-34DB-4A8A-B75C-5244AE7CD9B6}" destId="{E68F3C15-1E00-4BD7-8ABA-D3444ABBC6A8}" srcOrd="5" destOrd="0" presId="urn:microsoft.com/office/officeart/2008/layout/LinedList"/>
    <dgm:cxn modelId="{8DBBECC7-5048-4D06-8849-31BAAE83F5C8}" type="presParOf" srcId="{E68F3C15-1E00-4BD7-8ABA-D3444ABBC6A8}" destId="{3DED8D65-2801-4CA0-9F1E-7E1443A2BC54}" srcOrd="0" destOrd="0" presId="urn:microsoft.com/office/officeart/2008/layout/LinedList"/>
    <dgm:cxn modelId="{E297F464-9DB4-4297-BE20-34ADF5342327}" type="presParOf" srcId="{E68F3C15-1E00-4BD7-8ABA-D3444ABBC6A8}" destId="{46809D12-6676-4D3C-88B4-AD090E94D124}" srcOrd="1" destOrd="0" presId="urn:microsoft.com/office/officeart/2008/layout/LinedList"/>
    <dgm:cxn modelId="{9707380C-1917-40A7-8640-470906734192}" type="presParOf" srcId="{46809D12-6676-4D3C-88B4-AD090E94D124}" destId="{248EB20B-154C-4376-B87C-B5A9E7E27695}" srcOrd="0" destOrd="0" presId="urn:microsoft.com/office/officeart/2008/layout/LinedList"/>
    <dgm:cxn modelId="{C463D44A-50F1-4E25-A432-A0311FE27582}" type="presParOf" srcId="{46809D12-6676-4D3C-88B4-AD090E94D124}" destId="{831F23DE-44B2-43BC-A9A4-929FAFAB08B9}" srcOrd="1" destOrd="0" presId="urn:microsoft.com/office/officeart/2008/layout/LinedList"/>
    <dgm:cxn modelId="{BE63F1E4-50E5-4868-BF68-80674E5B6C3F}" type="presParOf" srcId="{831F23DE-44B2-43BC-A9A4-929FAFAB08B9}" destId="{2EE5D640-8AF9-4529-9F01-4A828183FC1B}" srcOrd="0" destOrd="0" presId="urn:microsoft.com/office/officeart/2008/layout/LinedList"/>
    <dgm:cxn modelId="{D77B7142-A20F-453E-8A23-5F8D4C23E45E}" type="presParOf" srcId="{831F23DE-44B2-43BC-A9A4-929FAFAB08B9}" destId="{3EA9A40D-FC69-4C40-8071-B550C22A5F60}" srcOrd="1" destOrd="0" presId="urn:microsoft.com/office/officeart/2008/layout/LinedList"/>
    <dgm:cxn modelId="{5081FF95-7EF7-433A-8EF3-5D716B2AC0B0}" type="presParOf" srcId="{831F23DE-44B2-43BC-A9A4-929FAFAB08B9}" destId="{F887B56D-B01A-46C2-9C28-A82DC735A008}" srcOrd="2" destOrd="0" presId="urn:microsoft.com/office/officeart/2008/layout/LinedList"/>
    <dgm:cxn modelId="{56527AF1-EB6A-4F5A-B97A-3AFA65B3B9E0}" type="presParOf" srcId="{46809D12-6676-4D3C-88B4-AD090E94D124}" destId="{67FF7D15-1CB5-4A04-B4AD-CFEB0578751F}" srcOrd="2" destOrd="0" presId="urn:microsoft.com/office/officeart/2008/layout/LinedList"/>
    <dgm:cxn modelId="{69544DCE-41FC-40F5-B1E5-8F479FE64C08}" type="presParOf" srcId="{46809D12-6676-4D3C-88B4-AD090E94D124}" destId="{EB0291AA-21AC-494F-B371-71CC77D510F0}" srcOrd="3" destOrd="0" presId="urn:microsoft.com/office/officeart/2008/layout/LinedList"/>
    <dgm:cxn modelId="{75CB9AED-CF44-48BD-938D-83B4F5046365}" type="presParOf" srcId="{46809D12-6676-4D3C-88B4-AD090E94D124}" destId="{79E4137B-E343-41E1-B805-58151CF78FF4}" srcOrd="4" destOrd="0" presId="urn:microsoft.com/office/officeart/2008/layout/LinedList"/>
    <dgm:cxn modelId="{3C817568-E0CF-4E71-B117-04DB49B4A59B}" type="presParOf" srcId="{79E4137B-E343-41E1-B805-58151CF78FF4}" destId="{2EF0B775-9972-4CAA-82EC-26C4165306EA}" srcOrd="0" destOrd="0" presId="urn:microsoft.com/office/officeart/2008/layout/LinedList"/>
    <dgm:cxn modelId="{DECB400E-0487-4FC0-9978-D086184AC57A}" type="presParOf" srcId="{79E4137B-E343-41E1-B805-58151CF78FF4}" destId="{A8D85432-8A2F-4188-B4D3-4FF6B0A5AE5E}" srcOrd="1" destOrd="0" presId="urn:microsoft.com/office/officeart/2008/layout/LinedList"/>
    <dgm:cxn modelId="{B964C6AB-802A-4063-9844-BC7D4E85F45D}" type="presParOf" srcId="{79E4137B-E343-41E1-B805-58151CF78FF4}" destId="{2126E857-0A29-4CEC-88E7-A1718EF89603}" srcOrd="2" destOrd="0" presId="urn:microsoft.com/office/officeart/2008/layout/LinedList"/>
    <dgm:cxn modelId="{A22D1041-B73A-4289-8245-AC9B71B250F8}" type="presParOf" srcId="{46809D12-6676-4D3C-88B4-AD090E94D124}" destId="{502662D2-A353-4182-AA0D-789255AE3743}" srcOrd="5" destOrd="0" presId="urn:microsoft.com/office/officeart/2008/layout/LinedList"/>
    <dgm:cxn modelId="{CBF35AC8-7C31-4984-84A0-228617252824}" type="presParOf" srcId="{46809D12-6676-4D3C-88B4-AD090E94D124}" destId="{56D7FDFE-7E7C-4FA1-BD4C-E99F092E732B}" srcOrd="6" destOrd="0" presId="urn:microsoft.com/office/officeart/2008/layout/LinedList"/>
    <dgm:cxn modelId="{E379F537-20A6-4421-B1FD-E2B3198ED1B6}" type="presParOf" srcId="{46809D12-6676-4D3C-88B4-AD090E94D124}" destId="{08CFF2C2-E663-4DF1-A740-A13ECE13BDC6}" srcOrd="7" destOrd="0" presId="urn:microsoft.com/office/officeart/2008/layout/LinedList"/>
    <dgm:cxn modelId="{FD7606CC-5C7B-4848-9187-48616D8A54D8}" type="presParOf" srcId="{08CFF2C2-E663-4DF1-A740-A13ECE13BDC6}" destId="{521F9115-EF9D-4607-ABC2-5AAF90CA4E9D}" srcOrd="0" destOrd="0" presId="urn:microsoft.com/office/officeart/2008/layout/LinedList"/>
    <dgm:cxn modelId="{FBB15C99-A0A1-4B68-A7D7-54B791314C92}" type="presParOf" srcId="{08CFF2C2-E663-4DF1-A740-A13ECE13BDC6}" destId="{34F5590F-DF18-451E-A3A8-828A38655CD4}" srcOrd="1" destOrd="0" presId="urn:microsoft.com/office/officeart/2008/layout/LinedList"/>
    <dgm:cxn modelId="{0E917CFD-ABC4-425C-9C95-8BD984A85898}" type="presParOf" srcId="{08CFF2C2-E663-4DF1-A740-A13ECE13BDC6}" destId="{C8DE2C9B-A02F-493C-AFFC-5A3865DF0724}" srcOrd="2" destOrd="0" presId="urn:microsoft.com/office/officeart/2008/layout/LinedList"/>
    <dgm:cxn modelId="{EF82ABD9-7BC3-49F9-A1DB-EC9616E5B134}" type="presParOf" srcId="{46809D12-6676-4D3C-88B4-AD090E94D124}" destId="{9AAA285E-9344-4C3A-B597-F6B85A90277D}" srcOrd="8" destOrd="0" presId="urn:microsoft.com/office/officeart/2008/layout/LinedList"/>
    <dgm:cxn modelId="{2948EC2D-4ECD-4C44-B850-F90BCFBB8956}" type="presParOf" srcId="{46809D12-6676-4D3C-88B4-AD090E94D124}" destId="{C1E9161E-779D-4709-8421-3E7E5E740A2C}" srcOrd="9" destOrd="0" presId="urn:microsoft.com/office/officeart/2008/layout/LinedList"/>
    <dgm:cxn modelId="{38C3B18B-57D6-47F6-8701-3B27EFB9D7AC}" type="presParOf" srcId="{F94FB8B5-34DB-4A8A-B75C-5244AE7CD9B6}" destId="{F6865C52-0876-41B6-B10F-46627FCE0514}" srcOrd="6" destOrd="0" presId="urn:microsoft.com/office/officeart/2008/layout/LinedList"/>
    <dgm:cxn modelId="{4A1F8B70-DAD5-43F5-91F0-53D578109829}" type="presParOf" srcId="{F94FB8B5-34DB-4A8A-B75C-5244AE7CD9B6}" destId="{6213EFA6-EF75-49AA-A270-4A71474E686C}" srcOrd="7" destOrd="0" presId="urn:microsoft.com/office/officeart/2008/layout/LinedList"/>
    <dgm:cxn modelId="{A8FE8790-7DAD-4625-9B3E-DB3DB25126A1}" type="presParOf" srcId="{6213EFA6-EF75-49AA-A270-4A71474E686C}" destId="{39A3B301-AE3A-46A3-B87B-F7F0B663D051}" srcOrd="0" destOrd="0" presId="urn:microsoft.com/office/officeart/2008/layout/LinedList"/>
    <dgm:cxn modelId="{069DC824-D4E1-45E3-87D2-78954A75F3FF}" type="presParOf" srcId="{6213EFA6-EF75-49AA-A270-4A71474E686C}" destId="{6C319732-22F7-4E25-B83E-948DEE3CFD9D}" srcOrd="1" destOrd="0" presId="urn:microsoft.com/office/officeart/2008/layout/LinedList"/>
    <dgm:cxn modelId="{DDA96EF8-F84F-4F6D-B843-80569B1A5B47}" type="presParOf" srcId="{6C319732-22F7-4E25-B83E-948DEE3CFD9D}" destId="{97A74B68-4569-4600-A9A6-EED3ADD84080}" srcOrd="0" destOrd="0" presId="urn:microsoft.com/office/officeart/2008/layout/LinedList"/>
    <dgm:cxn modelId="{A9F81DDA-CD39-4CBF-B216-77CB4DFD0FF2}" type="presParOf" srcId="{6C319732-22F7-4E25-B83E-948DEE3CFD9D}" destId="{923D59CF-DD99-40F3-8D07-9ED93AD23E00}" srcOrd="1" destOrd="0" presId="urn:microsoft.com/office/officeart/2008/layout/LinedList"/>
    <dgm:cxn modelId="{438BA624-9D42-48D2-B639-775ADDFBEAE7}" type="presParOf" srcId="{923D59CF-DD99-40F3-8D07-9ED93AD23E00}" destId="{944F3539-2333-4583-B2C1-49D014CA7E98}" srcOrd="0" destOrd="0" presId="urn:microsoft.com/office/officeart/2008/layout/LinedList"/>
    <dgm:cxn modelId="{4C3018E8-016C-47AC-81BB-32319766CF2E}" type="presParOf" srcId="{923D59CF-DD99-40F3-8D07-9ED93AD23E00}" destId="{13482DE6-51FC-41CF-9078-04E278CCFD2C}" srcOrd="1" destOrd="0" presId="urn:microsoft.com/office/officeart/2008/layout/LinedList"/>
    <dgm:cxn modelId="{AECC02FA-A47B-4989-9D45-2CF5E8C0AD84}" type="presParOf" srcId="{923D59CF-DD99-40F3-8D07-9ED93AD23E00}" destId="{C1489E75-1063-4282-B12B-28453921CC36}" srcOrd="2" destOrd="0" presId="urn:microsoft.com/office/officeart/2008/layout/LinedList"/>
    <dgm:cxn modelId="{62FB3E23-F588-4F43-AB96-2C8D5AC40075}" type="presParOf" srcId="{6C319732-22F7-4E25-B83E-948DEE3CFD9D}" destId="{0F50EB08-D536-4931-BEB7-C57A44D9AB4A}" srcOrd="2" destOrd="0" presId="urn:microsoft.com/office/officeart/2008/layout/LinedList"/>
    <dgm:cxn modelId="{043751D6-D560-4273-AC26-274EE5D1640D}" type="presParOf" srcId="{6C319732-22F7-4E25-B83E-948DEE3CFD9D}" destId="{022413A2-19EA-4A13-9FF3-48C2E5F1A248}" srcOrd="3" destOrd="0" presId="urn:microsoft.com/office/officeart/2008/layout/LinedList"/>
    <dgm:cxn modelId="{40F5F3AE-0241-4937-A659-791528757103}" type="presParOf" srcId="{6C319732-22F7-4E25-B83E-948DEE3CFD9D}" destId="{9067F3BE-998C-4218-AF82-2DD61AF14837}" srcOrd="4" destOrd="0" presId="urn:microsoft.com/office/officeart/2008/layout/LinedList"/>
    <dgm:cxn modelId="{E682012F-7270-46CC-9D92-B0D63F8C652F}" type="presParOf" srcId="{9067F3BE-998C-4218-AF82-2DD61AF14837}" destId="{9E53E73A-FE57-45EE-8D12-EF555776CC8E}" srcOrd="0" destOrd="0" presId="urn:microsoft.com/office/officeart/2008/layout/LinedList"/>
    <dgm:cxn modelId="{55469BDC-D64D-454D-8D39-080BFAE059B0}" type="presParOf" srcId="{9067F3BE-998C-4218-AF82-2DD61AF14837}" destId="{FAE46182-B075-43AB-869D-7B6CBFB439E1}" srcOrd="1" destOrd="0" presId="urn:microsoft.com/office/officeart/2008/layout/LinedList"/>
    <dgm:cxn modelId="{19419876-D9D0-4141-BBEF-E60F84B5091D}" type="presParOf" srcId="{9067F3BE-998C-4218-AF82-2DD61AF14837}" destId="{E3999466-F0DD-4CC0-9015-17F1AFD17482}" srcOrd="2" destOrd="0" presId="urn:microsoft.com/office/officeart/2008/layout/LinedList"/>
    <dgm:cxn modelId="{9ECDF0B6-D35E-4EDE-BB56-E464E7078E1C}" type="presParOf" srcId="{6C319732-22F7-4E25-B83E-948DEE3CFD9D}" destId="{5A444254-F6E2-4470-B18A-74737797156D}" srcOrd="5" destOrd="0" presId="urn:microsoft.com/office/officeart/2008/layout/LinedList"/>
    <dgm:cxn modelId="{26179036-1EC1-4741-8264-04C995BF69AA}" type="presParOf" srcId="{6C319732-22F7-4E25-B83E-948DEE3CFD9D}" destId="{36A2ACE9-AA05-47A2-BB1B-DE7A325B04E9}" srcOrd="6" destOrd="0" presId="urn:microsoft.com/office/officeart/2008/layout/LinedList"/>
    <dgm:cxn modelId="{5643FC92-2DE7-4CF8-827F-21851F857653}" type="presParOf" srcId="{6C319732-22F7-4E25-B83E-948DEE3CFD9D}" destId="{3428C4F8-A49A-4E37-AB6C-80F4FDCF9238}" srcOrd="7" destOrd="0" presId="urn:microsoft.com/office/officeart/2008/layout/LinedList"/>
    <dgm:cxn modelId="{3CF32E13-3AEF-4FC8-B8E2-01C24D34D9C1}" type="presParOf" srcId="{3428C4F8-A49A-4E37-AB6C-80F4FDCF9238}" destId="{6D6F36E1-E252-480B-B6FF-6B9E3DE43CD3}" srcOrd="0" destOrd="0" presId="urn:microsoft.com/office/officeart/2008/layout/LinedList"/>
    <dgm:cxn modelId="{935898A6-348D-4696-A01F-EF446A95F9F9}" type="presParOf" srcId="{3428C4F8-A49A-4E37-AB6C-80F4FDCF9238}" destId="{5090BBF7-6B82-4B75-8C0F-12502E9F5CDE}" srcOrd="1" destOrd="0" presId="urn:microsoft.com/office/officeart/2008/layout/LinedList"/>
    <dgm:cxn modelId="{631D0B75-6D77-4D99-AD14-61DC07D25FCC}" type="presParOf" srcId="{3428C4F8-A49A-4E37-AB6C-80F4FDCF9238}" destId="{B2EB7E82-12C6-4B40-BFE2-074F4B233A36}" srcOrd="2" destOrd="0" presId="urn:microsoft.com/office/officeart/2008/layout/LinedList"/>
    <dgm:cxn modelId="{427CDB16-9209-4A81-AF9C-732EEBCA3197}" type="presParOf" srcId="{6C319732-22F7-4E25-B83E-948DEE3CFD9D}" destId="{A4A918F2-A914-4818-810A-8E22CD36685D}" srcOrd="8" destOrd="0" presId="urn:microsoft.com/office/officeart/2008/layout/LinedList"/>
    <dgm:cxn modelId="{D00B7FC9-1BB1-41D0-91D3-181B19E3A5E3}" type="presParOf" srcId="{6C319732-22F7-4E25-B83E-948DEE3CFD9D}" destId="{F871E28C-FEEB-4184-B0A8-1C12ED37770C}" srcOrd="9" destOrd="0" presId="urn:microsoft.com/office/officeart/2008/layout/LinedList"/>
    <dgm:cxn modelId="{DB6E2596-51A3-4AE3-9B6C-7CC6290D0C67}" type="presParOf" srcId="{6C319732-22F7-4E25-B83E-948DEE3CFD9D}" destId="{0BD8EFD9-77B5-46B2-A903-AE4722F2E669}" srcOrd="10" destOrd="0" presId="urn:microsoft.com/office/officeart/2008/layout/LinedList"/>
    <dgm:cxn modelId="{C90BB7F3-97C7-43A9-A365-F4406E04A59C}" type="presParOf" srcId="{0BD8EFD9-77B5-46B2-A903-AE4722F2E669}" destId="{80A4EBD5-AA44-4482-9F08-E2325C5CD1AD}" srcOrd="0" destOrd="0" presId="urn:microsoft.com/office/officeart/2008/layout/LinedList"/>
    <dgm:cxn modelId="{1D7A2F16-1C63-4497-AA76-91E79FAFBAD0}" type="presParOf" srcId="{0BD8EFD9-77B5-46B2-A903-AE4722F2E669}" destId="{940369E6-4555-4B2A-A8A8-C84FC0C35750}" srcOrd="1" destOrd="0" presId="urn:microsoft.com/office/officeart/2008/layout/LinedList"/>
    <dgm:cxn modelId="{CD97203A-DE98-40B0-8EB9-A5321E402C80}" type="presParOf" srcId="{0BD8EFD9-77B5-46B2-A903-AE4722F2E669}" destId="{B3A98711-BD32-4771-B9F5-C260A3C96BE5}" srcOrd="2" destOrd="0" presId="urn:microsoft.com/office/officeart/2008/layout/LinedList"/>
    <dgm:cxn modelId="{7AAC0579-D0C1-42CF-A6DB-20871E599345}" type="presParOf" srcId="{6C319732-22F7-4E25-B83E-948DEE3CFD9D}" destId="{1E0B6678-EAA4-4395-8BEC-0A2548AB70B8}" srcOrd="11" destOrd="0" presId="urn:microsoft.com/office/officeart/2008/layout/LinedList"/>
    <dgm:cxn modelId="{E81EE34B-7F74-4E5B-9B95-3ADCE90966FD}" type="presParOf" srcId="{6C319732-22F7-4E25-B83E-948DEE3CFD9D}" destId="{B5DCCCEF-0699-4743-B7CC-4785AF05CBCB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89A2921F-624C-4ADA-AC9A-4533B5D96D0B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B63C370F-D0B3-4152-BDCE-2012D67D210C}">
      <dgm:prSet phldrT="[Text]"/>
      <dgm:spPr>
        <a:solidFill>
          <a:schemeClr val="accent5"/>
        </a:solidFill>
      </dgm:spPr>
      <dgm:t>
        <a:bodyPr/>
        <a:lstStyle/>
        <a:p>
          <a:r>
            <a:rPr lang="de-DE" dirty="0"/>
            <a:t>ISTAR Digital Twin</a:t>
          </a:r>
        </a:p>
      </dgm:t>
    </dgm:pt>
    <dgm:pt modelId="{5169D9AA-75C6-42D6-9207-BA2A7D238FC2}" type="parTrans" cxnId="{406586DA-D35C-42BB-9E3E-1B2E043281EB}">
      <dgm:prSet/>
      <dgm:spPr/>
      <dgm:t>
        <a:bodyPr/>
        <a:lstStyle/>
        <a:p>
          <a:endParaRPr lang="de-DE"/>
        </a:p>
      </dgm:t>
    </dgm:pt>
    <dgm:pt modelId="{D1440289-004E-4AD5-B502-56DD2CE750BC}" type="sibTrans" cxnId="{406586DA-D35C-42BB-9E3E-1B2E043281EB}">
      <dgm:prSet/>
      <dgm:spPr/>
      <dgm:t>
        <a:bodyPr/>
        <a:lstStyle/>
        <a:p>
          <a:endParaRPr lang="de-DE"/>
        </a:p>
      </dgm:t>
    </dgm:pt>
    <dgm:pt modelId="{B08B3F3B-B2AB-408A-AEF9-40DA7471B8E8}">
      <dgm:prSet phldrT="[Text]"/>
      <dgm:spPr/>
      <dgm:t>
        <a:bodyPr/>
        <a:lstStyle/>
        <a:p>
          <a:r>
            <a:rPr lang="de-DE" dirty="0"/>
            <a:t>Aircraft Internal Data</a:t>
          </a:r>
        </a:p>
      </dgm:t>
    </dgm:pt>
    <dgm:pt modelId="{CDDACAB3-2B78-4C93-ABEC-F480BDD9B7C5}" type="parTrans" cxnId="{10A45D98-367A-463E-946B-C932E108A3A6}">
      <dgm:prSet/>
      <dgm:spPr/>
      <dgm:t>
        <a:bodyPr/>
        <a:lstStyle/>
        <a:p>
          <a:endParaRPr lang="de-DE"/>
        </a:p>
      </dgm:t>
    </dgm:pt>
    <dgm:pt modelId="{A1E1C432-75AD-4052-A603-3ED0EBE112D7}" type="sibTrans" cxnId="{10A45D98-367A-463E-946B-C932E108A3A6}">
      <dgm:prSet/>
      <dgm:spPr/>
      <dgm:t>
        <a:bodyPr/>
        <a:lstStyle/>
        <a:p>
          <a:endParaRPr lang="de-DE"/>
        </a:p>
      </dgm:t>
    </dgm:pt>
    <dgm:pt modelId="{3FECB7C7-A597-47C7-ACC3-881067292768}">
      <dgm:prSet phldrT="[Text]"/>
      <dgm:spPr>
        <a:solidFill>
          <a:schemeClr val="accent3"/>
        </a:solidFill>
      </dgm:spPr>
      <dgm:t>
        <a:bodyPr/>
        <a:lstStyle/>
        <a:p>
          <a:r>
            <a:rPr lang="de-DE" dirty="0"/>
            <a:t>DLR Internal Data</a:t>
          </a:r>
        </a:p>
      </dgm:t>
    </dgm:pt>
    <dgm:pt modelId="{187EA3D4-E7D2-481E-A500-2A13BB66E76A}" type="parTrans" cxnId="{2B613FD7-A3C9-43B0-8852-2B3669F0B0C3}">
      <dgm:prSet/>
      <dgm:spPr/>
      <dgm:t>
        <a:bodyPr/>
        <a:lstStyle/>
        <a:p>
          <a:endParaRPr lang="de-DE"/>
        </a:p>
      </dgm:t>
    </dgm:pt>
    <dgm:pt modelId="{962C6E63-3867-4D77-B0E3-671156408FB2}" type="sibTrans" cxnId="{2B613FD7-A3C9-43B0-8852-2B3669F0B0C3}">
      <dgm:prSet/>
      <dgm:spPr/>
      <dgm:t>
        <a:bodyPr/>
        <a:lstStyle/>
        <a:p>
          <a:endParaRPr lang="de-DE"/>
        </a:p>
      </dgm:t>
    </dgm:pt>
    <dgm:pt modelId="{32A7DDBA-45A7-473F-8F28-661BBD8B1889}">
      <dgm:prSet phldrT="[Text]"/>
      <dgm:spPr>
        <a:solidFill>
          <a:schemeClr val="accent4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DLR External Data</a:t>
          </a:r>
        </a:p>
      </dgm:t>
    </dgm:pt>
    <dgm:pt modelId="{34B03A3C-224B-4295-A628-841616B6756E}" type="parTrans" cxnId="{949C0111-299F-4F19-97E1-D911F125D186}">
      <dgm:prSet/>
      <dgm:spPr/>
      <dgm:t>
        <a:bodyPr/>
        <a:lstStyle/>
        <a:p>
          <a:endParaRPr lang="de-DE"/>
        </a:p>
      </dgm:t>
    </dgm:pt>
    <dgm:pt modelId="{E636D99F-8B69-44B8-BB69-45013EBF827F}" type="sibTrans" cxnId="{949C0111-299F-4F19-97E1-D911F125D186}">
      <dgm:prSet/>
      <dgm:spPr/>
      <dgm:t>
        <a:bodyPr/>
        <a:lstStyle/>
        <a:p>
          <a:endParaRPr lang="de-DE"/>
        </a:p>
      </dgm:t>
    </dgm:pt>
    <dgm:pt modelId="{D2342DA6-3C7E-43E5-B865-EB9AC3B57EC9}">
      <dgm:prSet phldrT="[Text]"/>
      <dgm:spPr>
        <a:solidFill>
          <a:schemeClr val="accent4"/>
        </a:solidFill>
      </dgm:spPr>
      <dgm:t>
        <a:bodyPr/>
        <a:lstStyle/>
        <a:p>
          <a:r>
            <a:rPr lang="de-DE" dirty="0" err="1">
              <a:solidFill>
                <a:schemeClr val="tx1"/>
              </a:solidFill>
            </a:rPr>
            <a:t>Surrounding</a:t>
          </a:r>
          <a:r>
            <a:rPr lang="de-DE" dirty="0">
              <a:solidFill>
                <a:schemeClr val="tx1"/>
              </a:solidFill>
            </a:rPr>
            <a:t> </a:t>
          </a:r>
          <a:br>
            <a:rPr lang="de-DE" dirty="0">
              <a:solidFill>
                <a:schemeClr val="tx1"/>
              </a:solidFill>
            </a:rPr>
          </a:br>
          <a:r>
            <a:rPr lang="de-DE" dirty="0">
              <a:solidFill>
                <a:schemeClr val="tx1"/>
              </a:solidFill>
            </a:rPr>
            <a:t>Traffic (ADS-B)</a:t>
          </a:r>
        </a:p>
      </dgm:t>
    </dgm:pt>
    <dgm:pt modelId="{A15A7EAA-F6EB-40A5-8570-D600C9960EBD}" type="parTrans" cxnId="{D249DB6A-2170-48A9-B7B0-DF4CBECCFF5F}">
      <dgm:prSet/>
      <dgm:spPr/>
      <dgm:t>
        <a:bodyPr/>
        <a:lstStyle/>
        <a:p>
          <a:endParaRPr lang="de-DE"/>
        </a:p>
      </dgm:t>
    </dgm:pt>
    <dgm:pt modelId="{3E13B34A-BD2F-4C20-A8AB-1787862964B0}" type="sibTrans" cxnId="{D249DB6A-2170-48A9-B7B0-DF4CBECCFF5F}">
      <dgm:prSet/>
      <dgm:spPr/>
      <dgm:t>
        <a:bodyPr/>
        <a:lstStyle/>
        <a:p>
          <a:endParaRPr lang="de-DE"/>
        </a:p>
      </dgm:t>
    </dgm:pt>
    <dgm:pt modelId="{36772620-CBA7-4CC2-96A5-B5A75A17D551}">
      <dgm:prSet phldrT="[Text]"/>
      <dgm:spPr>
        <a:solidFill>
          <a:schemeClr val="accent4"/>
        </a:solidFill>
      </dgm:spPr>
      <dgm:t>
        <a:bodyPr/>
        <a:lstStyle/>
        <a:p>
          <a:r>
            <a:rPr lang="de-DE" dirty="0" err="1">
              <a:solidFill>
                <a:schemeClr val="tx1"/>
              </a:solidFill>
            </a:rPr>
            <a:t>Weather</a:t>
          </a:r>
          <a:r>
            <a:rPr lang="de-DE" dirty="0">
              <a:solidFill>
                <a:schemeClr val="tx1"/>
              </a:solidFill>
            </a:rPr>
            <a:t> (ECMWF, </a:t>
          </a:r>
          <a:r>
            <a:rPr lang="de-DE" dirty="0" err="1">
              <a:solidFill>
                <a:schemeClr val="tx1"/>
              </a:solidFill>
            </a:rPr>
            <a:t>Metar</a:t>
          </a:r>
          <a:r>
            <a:rPr lang="de-DE" dirty="0">
              <a:solidFill>
                <a:schemeClr val="tx1"/>
              </a:solidFill>
            </a:rPr>
            <a:t>)</a:t>
          </a:r>
        </a:p>
      </dgm:t>
    </dgm:pt>
    <dgm:pt modelId="{CA503648-54B6-4AFA-9551-1753F78356BB}" type="parTrans" cxnId="{A9931B22-2DD5-4799-9F38-D0FEF4D519F8}">
      <dgm:prSet/>
      <dgm:spPr/>
      <dgm:t>
        <a:bodyPr/>
        <a:lstStyle/>
        <a:p>
          <a:endParaRPr lang="de-DE"/>
        </a:p>
      </dgm:t>
    </dgm:pt>
    <dgm:pt modelId="{E1CE889D-CF59-4381-AE75-64011EB4E296}" type="sibTrans" cxnId="{A9931B22-2DD5-4799-9F38-D0FEF4D519F8}">
      <dgm:prSet/>
      <dgm:spPr/>
      <dgm:t>
        <a:bodyPr/>
        <a:lstStyle/>
        <a:p>
          <a:endParaRPr lang="de-DE"/>
        </a:p>
      </dgm:t>
    </dgm:pt>
    <dgm:pt modelId="{CCE64073-FE79-4B04-951D-58491D7046D7}">
      <dgm:prSet phldrT="[Text]"/>
      <dgm:spPr>
        <a:solidFill>
          <a:schemeClr val="accent3"/>
        </a:solidFill>
      </dgm:spPr>
      <dgm:t>
        <a:bodyPr/>
        <a:lstStyle/>
        <a:p>
          <a:r>
            <a:rPr lang="de-DE" dirty="0"/>
            <a:t>CAMO</a:t>
          </a:r>
        </a:p>
      </dgm:t>
    </dgm:pt>
    <dgm:pt modelId="{C5DAD821-742F-4528-A4F4-6B39B1DB67B0}" type="parTrans" cxnId="{B935515A-0E34-44A3-89B7-40433F54E6D9}">
      <dgm:prSet/>
      <dgm:spPr/>
      <dgm:t>
        <a:bodyPr/>
        <a:lstStyle/>
        <a:p>
          <a:endParaRPr lang="de-DE"/>
        </a:p>
      </dgm:t>
    </dgm:pt>
    <dgm:pt modelId="{0EE215E7-FB21-4C32-9CCA-CD80F76068BD}" type="sibTrans" cxnId="{B935515A-0E34-44A3-89B7-40433F54E6D9}">
      <dgm:prSet/>
      <dgm:spPr/>
      <dgm:t>
        <a:bodyPr/>
        <a:lstStyle/>
        <a:p>
          <a:endParaRPr lang="de-DE"/>
        </a:p>
      </dgm:t>
    </dgm:pt>
    <dgm:pt modelId="{79E6F2FE-1431-4D3F-A923-C9B812826557}">
      <dgm:prSet phldrT="[Text]"/>
      <dgm:spPr>
        <a:solidFill>
          <a:schemeClr val="accent3"/>
        </a:solidFill>
      </dgm:spPr>
      <dgm:t>
        <a:bodyPr/>
        <a:lstStyle/>
        <a:p>
          <a:r>
            <a:rPr lang="de-DE" dirty="0"/>
            <a:t>3D Scan (</a:t>
          </a:r>
          <a:r>
            <a:rPr lang="de-DE" dirty="0" err="1"/>
            <a:t>Cabin</a:t>
          </a:r>
          <a:r>
            <a:rPr lang="de-DE" dirty="0"/>
            <a:t> &amp; Aircraft)</a:t>
          </a:r>
        </a:p>
      </dgm:t>
    </dgm:pt>
    <dgm:pt modelId="{18B32590-E5F3-4401-998B-E9C0DC79B4FB}" type="parTrans" cxnId="{CCB1EAB8-E8F0-458D-A1C8-C2B42EE509E3}">
      <dgm:prSet/>
      <dgm:spPr/>
      <dgm:t>
        <a:bodyPr/>
        <a:lstStyle/>
        <a:p>
          <a:endParaRPr lang="de-DE"/>
        </a:p>
      </dgm:t>
    </dgm:pt>
    <dgm:pt modelId="{C58B04A0-ECAA-4D00-B295-38BC627013A1}" type="sibTrans" cxnId="{CCB1EAB8-E8F0-458D-A1C8-C2B42EE509E3}">
      <dgm:prSet/>
      <dgm:spPr/>
      <dgm:t>
        <a:bodyPr/>
        <a:lstStyle/>
        <a:p>
          <a:endParaRPr lang="de-DE"/>
        </a:p>
      </dgm:t>
    </dgm:pt>
    <dgm:pt modelId="{589CA551-AFDB-4CAA-A810-E4C7ABDBEE82}">
      <dgm:prSet phldrT="[Text]"/>
      <dgm:spPr>
        <a:solidFill>
          <a:schemeClr val="accent4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Manufacturing Data (CAD)</a:t>
          </a:r>
        </a:p>
      </dgm:t>
    </dgm:pt>
    <dgm:pt modelId="{9F5CE424-C251-4CA5-974C-22DE040A78D6}" type="parTrans" cxnId="{7E8717CC-B7C3-4758-995E-0BD1B99337C3}">
      <dgm:prSet/>
      <dgm:spPr/>
      <dgm:t>
        <a:bodyPr/>
        <a:lstStyle/>
        <a:p>
          <a:endParaRPr lang="de-DE"/>
        </a:p>
      </dgm:t>
    </dgm:pt>
    <dgm:pt modelId="{3DC18603-4BA0-494A-BD61-99394427F95A}" type="sibTrans" cxnId="{7E8717CC-B7C3-4758-995E-0BD1B99337C3}">
      <dgm:prSet/>
      <dgm:spPr/>
      <dgm:t>
        <a:bodyPr/>
        <a:lstStyle/>
        <a:p>
          <a:endParaRPr lang="de-DE"/>
        </a:p>
      </dgm:t>
    </dgm:pt>
    <dgm:pt modelId="{E0C9E596-356D-43B6-9780-2C7CAB011941}">
      <dgm:prSet phldrT="[Text]"/>
      <dgm:spPr>
        <a:solidFill>
          <a:schemeClr val="accent3"/>
        </a:solidFill>
      </dgm:spPr>
      <dgm:t>
        <a:bodyPr/>
        <a:lstStyle/>
        <a:p>
          <a:r>
            <a:rPr lang="de-DE" dirty="0"/>
            <a:t>Flight Test Plans</a:t>
          </a:r>
        </a:p>
      </dgm:t>
    </dgm:pt>
    <dgm:pt modelId="{FD1C1BC4-E5E0-480E-B047-91FD8123F159}" type="parTrans" cxnId="{E4A9DDD3-639C-4C5B-9BF5-9EA3BCED2904}">
      <dgm:prSet/>
      <dgm:spPr/>
      <dgm:t>
        <a:bodyPr/>
        <a:lstStyle/>
        <a:p>
          <a:endParaRPr lang="de-DE"/>
        </a:p>
      </dgm:t>
    </dgm:pt>
    <dgm:pt modelId="{258A73B2-9DDD-43CD-900E-2E40900388C0}" type="sibTrans" cxnId="{E4A9DDD3-639C-4C5B-9BF5-9EA3BCED2904}">
      <dgm:prSet/>
      <dgm:spPr/>
      <dgm:t>
        <a:bodyPr/>
        <a:lstStyle/>
        <a:p>
          <a:endParaRPr lang="de-DE"/>
        </a:p>
      </dgm:t>
    </dgm:pt>
    <dgm:pt modelId="{9E47BC3C-2047-41EA-9F79-6E94377361E0}">
      <dgm:prSet phldrT="[Text]"/>
      <dgm:spPr/>
      <dgm:t>
        <a:bodyPr/>
        <a:lstStyle/>
        <a:p>
          <a:r>
            <a:rPr lang="de-DE" dirty="0"/>
            <a:t>Basic Measurement Equipment (AC Data Bus)</a:t>
          </a:r>
        </a:p>
      </dgm:t>
    </dgm:pt>
    <dgm:pt modelId="{D4845FA8-4D21-4ECF-A5B7-B624F1940077}" type="parTrans" cxnId="{FE5A19BD-2236-48AD-A192-44DF22BCBB95}">
      <dgm:prSet/>
      <dgm:spPr/>
      <dgm:t>
        <a:bodyPr/>
        <a:lstStyle/>
        <a:p>
          <a:endParaRPr lang="de-DE"/>
        </a:p>
      </dgm:t>
    </dgm:pt>
    <dgm:pt modelId="{9E57C91A-8DAA-464D-A764-CE5D0DE2A150}" type="sibTrans" cxnId="{FE5A19BD-2236-48AD-A192-44DF22BCBB95}">
      <dgm:prSet/>
      <dgm:spPr/>
      <dgm:t>
        <a:bodyPr/>
        <a:lstStyle/>
        <a:p>
          <a:endParaRPr lang="de-DE"/>
        </a:p>
      </dgm:t>
    </dgm:pt>
    <dgm:pt modelId="{7473901C-534A-4191-BFD4-3A8E5FD19B3B}">
      <dgm:prSet phldrT="[Text]"/>
      <dgm:spPr/>
      <dgm:t>
        <a:bodyPr/>
        <a:lstStyle/>
        <a:p>
          <a:r>
            <a:rPr lang="de-DE" dirty="0" err="1"/>
            <a:t>Nose</a:t>
          </a:r>
          <a:r>
            <a:rPr lang="de-DE" dirty="0"/>
            <a:t> Boom</a:t>
          </a:r>
        </a:p>
      </dgm:t>
    </dgm:pt>
    <dgm:pt modelId="{4043E1B5-3F39-486A-AF65-4FA92F670BD3}" type="parTrans" cxnId="{3B3512B9-79FE-44B4-8BFD-6643FB173956}">
      <dgm:prSet/>
      <dgm:spPr/>
      <dgm:t>
        <a:bodyPr/>
        <a:lstStyle/>
        <a:p>
          <a:endParaRPr lang="de-DE"/>
        </a:p>
      </dgm:t>
    </dgm:pt>
    <dgm:pt modelId="{8E9522D3-4AFB-4774-997D-1E4F50F03A21}" type="sibTrans" cxnId="{3B3512B9-79FE-44B4-8BFD-6643FB173956}">
      <dgm:prSet/>
      <dgm:spPr/>
      <dgm:t>
        <a:bodyPr/>
        <a:lstStyle/>
        <a:p>
          <a:endParaRPr lang="de-DE"/>
        </a:p>
      </dgm:t>
    </dgm:pt>
    <dgm:pt modelId="{9FFF1FD9-1C05-4A9D-A656-205F842000C6}">
      <dgm:prSet phldrT="[Text]"/>
      <dgm:spPr/>
      <dgm:t>
        <a:bodyPr/>
        <a:lstStyle/>
        <a:p>
          <a:r>
            <a:rPr lang="de-DE" dirty="0" err="1"/>
            <a:t>Aerolastic</a:t>
          </a:r>
          <a:r>
            <a:rPr lang="de-DE" dirty="0"/>
            <a:t> Sensor System</a:t>
          </a:r>
        </a:p>
      </dgm:t>
    </dgm:pt>
    <dgm:pt modelId="{0AB84C04-E9DF-499A-B186-78A78801B498}" type="parTrans" cxnId="{01FAD158-0F82-46CE-B322-BF32F53CC194}">
      <dgm:prSet/>
      <dgm:spPr/>
      <dgm:t>
        <a:bodyPr/>
        <a:lstStyle/>
        <a:p>
          <a:endParaRPr lang="de-DE"/>
        </a:p>
      </dgm:t>
    </dgm:pt>
    <dgm:pt modelId="{4DEBA17F-DF42-4D1B-A7D1-27E21178710B}" type="sibTrans" cxnId="{01FAD158-0F82-46CE-B322-BF32F53CC194}">
      <dgm:prSet/>
      <dgm:spPr/>
      <dgm:t>
        <a:bodyPr/>
        <a:lstStyle/>
        <a:p>
          <a:endParaRPr lang="de-DE"/>
        </a:p>
      </dgm:t>
    </dgm:pt>
    <dgm:pt modelId="{E3DFC742-4887-4D40-B09D-0B128C29A1E0}" type="pres">
      <dgm:prSet presAssocID="{89A2921F-624C-4ADA-AC9A-4533B5D96D0B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0ECAF371-1EA1-4848-8B5A-ED30F8C180F0}" type="pres">
      <dgm:prSet presAssocID="{B63C370F-D0B3-4152-BDCE-2012D67D210C}" presName="root1" presStyleCnt="0"/>
      <dgm:spPr/>
    </dgm:pt>
    <dgm:pt modelId="{15AF63BF-097D-4EBC-B611-17C29F23CA05}" type="pres">
      <dgm:prSet presAssocID="{B63C370F-D0B3-4152-BDCE-2012D67D210C}" presName="LevelOneTextNode" presStyleLbl="node0" presStyleIdx="0" presStyleCnt="1" custScaleY="107445">
        <dgm:presLayoutVars>
          <dgm:chPref val="3"/>
        </dgm:presLayoutVars>
      </dgm:prSet>
      <dgm:spPr/>
    </dgm:pt>
    <dgm:pt modelId="{25EF7B79-3927-4700-AA72-AF027D9675ED}" type="pres">
      <dgm:prSet presAssocID="{B63C370F-D0B3-4152-BDCE-2012D67D210C}" presName="level2hierChild" presStyleCnt="0"/>
      <dgm:spPr/>
    </dgm:pt>
    <dgm:pt modelId="{B86FC023-5AA5-4F78-9297-CD6F60BE57CD}" type="pres">
      <dgm:prSet presAssocID="{CDDACAB3-2B78-4C93-ABEC-F480BDD9B7C5}" presName="conn2-1" presStyleLbl="parChTrans1D2" presStyleIdx="0" presStyleCnt="3"/>
      <dgm:spPr/>
    </dgm:pt>
    <dgm:pt modelId="{70F77F80-3D0B-461D-9297-114126A02F8E}" type="pres">
      <dgm:prSet presAssocID="{CDDACAB3-2B78-4C93-ABEC-F480BDD9B7C5}" presName="connTx" presStyleLbl="parChTrans1D2" presStyleIdx="0" presStyleCnt="3"/>
      <dgm:spPr/>
    </dgm:pt>
    <dgm:pt modelId="{C000E74F-D4A7-403F-987A-A750D8490CA8}" type="pres">
      <dgm:prSet presAssocID="{B08B3F3B-B2AB-408A-AEF9-40DA7471B8E8}" presName="root2" presStyleCnt="0"/>
      <dgm:spPr/>
    </dgm:pt>
    <dgm:pt modelId="{24B062D9-891F-4673-9275-E4F62730D662}" type="pres">
      <dgm:prSet presAssocID="{B08B3F3B-B2AB-408A-AEF9-40DA7471B8E8}" presName="LevelTwoTextNode" presStyleLbl="node2" presStyleIdx="0" presStyleCnt="3">
        <dgm:presLayoutVars>
          <dgm:chPref val="3"/>
        </dgm:presLayoutVars>
      </dgm:prSet>
      <dgm:spPr/>
    </dgm:pt>
    <dgm:pt modelId="{B12881B7-08FC-4734-ACCA-FE86845D6C34}" type="pres">
      <dgm:prSet presAssocID="{B08B3F3B-B2AB-408A-AEF9-40DA7471B8E8}" presName="level3hierChild" presStyleCnt="0"/>
      <dgm:spPr/>
    </dgm:pt>
    <dgm:pt modelId="{5E13931A-9AAF-4B45-9CFF-59C19939BCA2}" type="pres">
      <dgm:prSet presAssocID="{D4845FA8-4D21-4ECF-A5B7-B624F1940077}" presName="conn2-1" presStyleLbl="parChTrans1D3" presStyleIdx="0" presStyleCnt="9"/>
      <dgm:spPr/>
    </dgm:pt>
    <dgm:pt modelId="{29638BA9-09C0-41B6-A033-6159177D7C14}" type="pres">
      <dgm:prSet presAssocID="{D4845FA8-4D21-4ECF-A5B7-B624F1940077}" presName="connTx" presStyleLbl="parChTrans1D3" presStyleIdx="0" presStyleCnt="9"/>
      <dgm:spPr/>
    </dgm:pt>
    <dgm:pt modelId="{50496C6D-31EF-42EA-A3E6-2BF06C5D6756}" type="pres">
      <dgm:prSet presAssocID="{9E47BC3C-2047-41EA-9F79-6E94377361E0}" presName="root2" presStyleCnt="0"/>
      <dgm:spPr/>
    </dgm:pt>
    <dgm:pt modelId="{56A15159-5AC9-410E-B263-A510A2432B32}" type="pres">
      <dgm:prSet presAssocID="{9E47BC3C-2047-41EA-9F79-6E94377361E0}" presName="LevelTwoTextNode" presStyleLbl="node3" presStyleIdx="0" presStyleCnt="9">
        <dgm:presLayoutVars>
          <dgm:chPref val="3"/>
        </dgm:presLayoutVars>
      </dgm:prSet>
      <dgm:spPr/>
    </dgm:pt>
    <dgm:pt modelId="{7C8AA0AA-60AE-40BA-A2DF-82B086F65561}" type="pres">
      <dgm:prSet presAssocID="{9E47BC3C-2047-41EA-9F79-6E94377361E0}" presName="level3hierChild" presStyleCnt="0"/>
      <dgm:spPr/>
    </dgm:pt>
    <dgm:pt modelId="{FFFDB243-4505-44F2-BB85-C74F3C8DE599}" type="pres">
      <dgm:prSet presAssocID="{4043E1B5-3F39-486A-AF65-4FA92F670BD3}" presName="conn2-1" presStyleLbl="parChTrans1D3" presStyleIdx="1" presStyleCnt="9"/>
      <dgm:spPr/>
    </dgm:pt>
    <dgm:pt modelId="{D1755E59-6FDD-4310-A9D8-28012BEED599}" type="pres">
      <dgm:prSet presAssocID="{4043E1B5-3F39-486A-AF65-4FA92F670BD3}" presName="connTx" presStyleLbl="parChTrans1D3" presStyleIdx="1" presStyleCnt="9"/>
      <dgm:spPr/>
    </dgm:pt>
    <dgm:pt modelId="{E2C4BB5B-8DF1-4E4C-B557-37769974EE04}" type="pres">
      <dgm:prSet presAssocID="{7473901C-534A-4191-BFD4-3A8E5FD19B3B}" presName="root2" presStyleCnt="0"/>
      <dgm:spPr/>
    </dgm:pt>
    <dgm:pt modelId="{8DA5CF6A-7F14-436D-A4E3-44796FC9C617}" type="pres">
      <dgm:prSet presAssocID="{7473901C-534A-4191-BFD4-3A8E5FD19B3B}" presName="LevelTwoTextNode" presStyleLbl="node3" presStyleIdx="1" presStyleCnt="9">
        <dgm:presLayoutVars>
          <dgm:chPref val="3"/>
        </dgm:presLayoutVars>
      </dgm:prSet>
      <dgm:spPr/>
    </dgm:pt>
    <dgm:pt modelId="{52AAA3F1-279B-40AA-B450-0FC9962DF5EA}" type="pres">
      <dgm:prSet presAssocID="{7473901C-534A-4191-BFD4-3A8E5FD19B3B}" presName="level3hierChild" presStyleCnt="0"/>
      <dgm:spPr/>
    </dgm:pt>
    <dgm:pt modelId="{96CB63D9-7018-45B0-B99B-7A371EA7C2A8}" type="pres">
      <dgm:prSet presAssocID="{0AB84C04-E9DF-499A-B186-78A78801B498}" presName="conn2-1" presStyleLbl="parChTrans1D3" presStyleIdx="2" presStyleCnt="9"/>
      <dgm:spPr/>
    </dgm:pt>
    <dgm:pt modelId="{94E2696E-9606-46A1-A0E6-756BC8903EF8}" type="pres">
      <dgm:prSet presAssocID="{0AB84C04-E9DF-499A-B186-78A78801B498}" presName="connTx" presStyleLbl="parChTrans1D3" presStyleIdx="2" presStyleCnt="9"/>
      <dgm:spPr/>
    </dgm:pt>
    <dgm:pt modelId="{69626E34-A187-4F05-80FA-D324204B162D}" type="pres">
      <dgm:prSet presAssocID="{9FFF1FD9-1C05-4A9D-A656-205F842000C6}" presName="root2" presStyleCnt="0"/>
      <dgm:spPr/>
    </dgm:pt>
    <dgm:pt modelId="{EBB44A27-D449-4FAA-9A43-3634DCD01467}" type="pres">
      <dgm:prSet presAssocID="{9FFF1FD9-1C05-4A9D-A656-205F842000C6}" presName="LevelTwoTextNode" presStyleLbl="node3" presStyleIdx="2" presStyleCnt="9">
        <dgm:presLayoutVars>
          <dgm:chPref val="3"/>
        </dgm:presLayoutVars>
      </dgm:prSet>
      <dgm:spPr/>
    </dgm:pt>
    <dgm:pt modelId="{C6EFC102-B8F9-4BAE-A085-A85E0A723E42}" type="pres">
      <dgm:prSet presAssocID="{9FFF1FD9-1C05-4A9D-A656-205F842000C6}" presName="level3hierChild" presStyleCnt="0"/>
      <dgm:spPr/>
    </dgm:pt>
    <dgm:pt modelId="{8928A7E9-CDD8-4F1B-BBB4-C07BA8314112}" type="pres">
      <dgm:prSet presAssocID="{187EA3D4-E7D2-481E-A500-2A13BB66E76A}" presName="conn2-1" presStyleLbl="parChTrans1D2" presStyleIdx="1" presStyleCnt="3"/>
      <dgm:spPr/>
    </dgm:pt>
    <dgm:pt modelId="{BCDC1301-9220-4559-8314-D0B7ED0127DE}" type="pres">
      <dgm:prSet presAssocID="{187EA3D4-E7D2-481E-A500-2A13BB66E76A}" presName="connTx" presStyleLbl="parChTrans1D2" presStyleIdx="1" presStyleCnt="3"/>
      <dgm:spPr/>
    </dgm:pt>
    <dgm:pt modelId="{46251072-7595-4EFB-8051-02C1A022DE1E}" type="pres">
      <dgm:prSet presAssocID="{3FECB7C7-A597-47C7-ACC3-881067292768}" presName="root2" presStyleCnt="0"/>
      <dgm:spPr/>
    </dgm:pt>
    <dgm:pt modelId="{7AAD6E8A-D1AC-4C73-8EAC-42C29479C60D}" type="pres">
      <dgm:prSet presAssocID="{3FECB7C7-A597-47C7-ACC3-881067292768}" presName="LevelTwoTextNode" presStyleLbl="node2" presStyleIdx="1" presStyleCnt="3">
        <dgm:presLayoutVars>
          <dgm:chPref val="3"/>
        </dgm:presLayoutVars>
      </dgm:prSet>
      <dgm:spPr/>
    </dgm:pt>
    <dgm:pt modelId="{A3FD7636-451D-4E84-A515-BCBAFF8FBCC6}" type="pres">
      <dgm:prSet presAssocID="{3FECB7C7-A597-47C7-ACC3-881067292768}" presName="level3hierChild" presStyleCnt="0"/>
      <dgm:spPr/>
    </dgm:pt>
    <dgm:pt modelId="{E133D424-9E7D-49FC-903B-275E1F25F124}" type="pres">
      <dgm:prSet presAssocID="{C5DAD821-742F-4528-A4F4-6B39B1DB67B0}" presName="conn2-1" presStyleLbl="parChTrans1D3" presStyleIdx="3" presStyleCnt="9"/>
      <dgm:spPr/>
    </dgm:pt>
    <dgm:pt modelId="{266F73E3-829B-4CF1-BE18-3CAC45D3CD46}" type="pres">
      <dgm:prSet presAssocID="{C5DAD821-742F-4528-A4F4-6B39B1DB67B0}" presName="connTx" presStyleLbl="parChTrans1D3" presStyleIdx="3" presStyleCnt="9"/>
      <dgm:spPr/>
    </dgm:pt>
    <dgm:pt modelId="{B622A1FD-9E62-46F9-9762-DF71CA32D621}" type="pres">
      <dgm:prSet presAssocID="{CCE64073-FE79-4B04-951D-58491D7046D7}" presName="root2" presStyleCnt="0"/>
      <dgm:spPr/>
    </dgm:pt>
    <dgm:pt modelId="{1FA15DBF-B50F-4019-9FFC-32C7F856B55A}" type="pres">
      <dgm:prSet presAssocID="{CCE64073-FE79-4B04-951D-58491D7046D7}" presName="LevelTwoTextNode" presStyleLbl="node3" presStyleIdx="3" presStyleCnt="9">
        <dgm:presLayoutVars>
          <dgm:chPref val="3"/>
        </dgm:presLayoutVars>
      </dgm:prSet>
      <dgm:spPr/>
    </dgm:pt>
    <dgm:pt modelId="{C008D95D-3790-4F96-8ABC-699C9C10107D}" type="pres">
      <dgm:prSet presAssocID="{CCE64073-FE79-4B04-951D-58491D7046D7}" presName="level3hierChild" presStyleCnt="0"/>
      <dgm:spPr/>
    </dgm:pt>
    <dgm:pt modelId="{91BFE216-B3E2-4DE1-A461-9CF78F0FD570}" type="pres">
      <dgm:prSet presAssocID="{18B32590-E5F3-4401-998B-E9C0DC79B4FB}" presName="conn2-1" presStyleLbl="parChTrans1D3" presStyleIdx="4" presStyleCnt="9"/>
      <dgm:spPr/>
    </dgm:pt>
    <dgm:pt modelId="{6D237073-4E5B-473D-94D4-790500548F04}" type="pres">
      <dgm:prSet presAssocID="{18B32590-E5F3-4401-998B-E9C0DC79B4FB}" presName="connTx" presStyleLbl="parChTrans1D3" presStyleIdx="4" presStyleCnt="9"/>
      <dgm:spPr/>
    </dgm:pt>
    <dgm:pt modelId="{8DFB42E2-419F-481E-82DC-DDA6E77C8155}" type="pres">
      <dgm:prSet presAssocID="{79E6F2FE-1431-4D3F-A923-C9B812826557}" presName="root2" presStyleCnt="0"/>
      <dgm:spPr/>
    </dgm:pt>
    <dgm:pt modelId="{58DAF8C7-763E-421D-B937-2AA3327D22B4}" type="pres">
      <dgm:prSet presAssocID="{79E6F2FE-1431-4D3F-A923-C9B812826557}" presName="LevelTwoTextNode" presStyleLbl="node3" presStyleIdx="4" presStyleCnt="9">
        <dgm:presLayoutVars>
          <dgm:chPref val="3"/>
        </dgm:presLayoutVars>
      </dgm:prSet>
      <dgm:spPr/>
    </dgm:pt>
    <dgm:pt modelId="{46B9F7E9-C9FD-4C8A-BC94-236038D74DEA}" type="pres">
      <dgm:prSet presAssocID="{79E6F2FE-1431-4D3F-A923-C9B812826557}" presName="level3hierChild" presStyleCnt="0"/>
      <dgm:spPr/>
    </dgm:pt>
    <dgm:pt modelId="{45C894BC-9694-4D81-BF1B-4A730626DAA4}" type="pres">
      <dgm:prSet presAssocID="{FD1C1BC4-E5E0-480E-B047-91FD8123F159}" presName="conn2-1" presStyleLbl="parChTrans1D3" presStyleIdx="5" presStyleCnt="9"/>
      <dgm:spPr/>
    </dgm:pt>
    <dgm:pt modelId="{1AA64B49-885C-404C-8552-0B8E1F7C3A7F}" type="pres">
      <dgm:prSet presAssocID="{FD1C1BC4-E5E0-480E-B047-91FD8123F159}" presName="connTx" presStyleLbl="parChTrans1D3" presStyleIdx="5" presStyleCnt="9"/>
      <dgm:spPr/>
    </dgm:pt>
    <dgm:pt modelId="{15E57701-AEEB-4213-A312-7CC0BEC6E1E0}" type="pres">
      <dgm:prSet presAssocID="{E0C9E596-356D-43B6-9780-2C7CAB011941}" presName="root2" presStyleCnt="0"/>
      <dgm:spPr/>
    </dgm:pt>
    <dgm:pt modelId="{DD3D897A-6B6E-4AA3-A9FD-14CE57662DE3}" type="pres">
      <dgm:prSet presAssocID="{E0C9E596-356D-43B6-9780-2C7CAB011941}" presName="LevelTwoTextNode" presStyleLbl="node3" presStyleIdx="5" presStyleCnt="9">
        <dgm:presLayoutVars>
          <dgm:chPref val="3"/>
        </dgm:presLayoutVars>
      </dgm:prSet>
      <dgm:spPr/>
    </dgm:pt>
    <dgm:pt modelId="{AFF8B6D3-5EE8-4025-AE3D-FA08943CD0D0}" type="pres">
      <dgm:prSet presAssocID="{E0C9E596-356D-43B6-9780-2C7CAB011941}" presName="level3hierChild" presStyleCnt="0"/>
      <dgm:spPr/>
    </dgm:pt>
    <dgm:pt modelId="{F733F054-5A15-447F-8E52-7A9CDB808D03}" type="pres">
      <dgm:prSet presAssocID="{34B03A3C-224B-4295-A628-841616B6756E}" presName="conn2-1" presStyleLbl="parChTrans1D2" presStyleIdx="2" presStyleCnt="3"/>
      <dgm:spPr/>
    </dgm:pt>
    <dgm:pt modelId="{E5726B2C-9AD7-4642-A4FC-E2C58D810867}" type="pres">
      <dgm:prSet presAssocID="{34B03A3C-224B-4295-A628-841616B6756E}" presName="connTx" presStyleLbl="parChTrans1D2" presStyleIdx="2" presStyleCnt="3"/>
      <dgm:spPr/>
    </dgm:pt>
    <dgm:pt modelId="{89D2C9F1-ACA9-46B6-A0EE-ECA1423B56AF}" type="pres">
      <dgm:prSet presAssocID="{32A7DDBA-45A7-473F-8F28-661BBD8B1889}" presName="root2" presStyleCnt="0"/>
      <dgm:spPr/>
    </dgm:pt>
    <dgm:pt modelId="{BECF1E3F-BC6F-4A7D-AE0D-97FF8FE78196}" type="pres">
      <dgm:prSet presAssocID="{32A7DDBA-45A7-473F-8F28-661BBD8B1889}" presName="LevelTwoTextNode" presStyleLbl="node2" presStyleIdx="2" presStyleCnt="3">
        <dgm:presLayoutVars>
          <dgm:chPref val="3"/>
        </dgm:presLayoutVars>
      </dgm:prSet>
      <dgm:spPr/>
    </dgm:pt>
    <dgm:pt modelId="{1803C581-172F-4B82-BFE7-6F70D3810A31}" type="pres">
      <dgm:prSet presAssocID="{32A7DDBA-45A7-473F-8F28-661BBD8B1889}" presName="level3hierChild" presStyleCnt="0"/>
      <dgm:spPr/>
    </dgm:pt>
    <dgm:pt modelId="{5960513F-EE2B-4181-A374-AB2777448E61}" type="pres">
      <dgm:prSet presAssocID="{A15A7EAA-F6EB-40A5-8570-D600C9960EBD}" presName="conn2-1" presStyleLbl="parChTrans1D3" presStyleIdx="6" presStyleCnt="9"/>
      <dgm:spPr/>
    </dgm:pt>
    <dgm:pt modelId="{B545B5F3-FEA8-48BA-9AFE-6BFD55CA7002}" type="pres">
      <dgm:prSet presAssocID="{A15A7EAA-F6EB-40A5-8570-D600C9960EBD}" presName="connTx" presStyleLbl="parChTrans1D3" presStyleIdx="6" presStyleCnt="9"/>
      <dgm:spPr/>
    </dgm:pt>
    <dgm:pt modelId="{EA043707-2972-4EBD-92E1-83340204559D}" type="pres">
      <dgm:prSet presAssocID="{D2342DA6-3C7E-43E5-B865-EB9AC3B57EC9}" presName="root2" presStyleCnt="0"/>
      <dgm:spPr/>
    </dgm:pt>
    <dgm:pt modelId="{6C832B41-8D46-4FC6-8B9E-56C0780A9437}" type="pres">
      <dgm:prSet presAssocID="{D2342DA6-3C7E-43E5-B865-EB9AC3B57EC9}" presName="LevelTwoTextNode" presStyleLbl="node3" presStyleIdx="6" presStyleCnt="9">
        <dgm:presLayoutVars>
          <dgm:chPref val="3"/>
        </dgm:presLayoutVars>
      </dgm:prSet>
      <dgm:spPr/>
    </dgm:pt>
    <dgm:pt modelId="{CD69E413-E479-488F-B86B-73509376D0ED}" type="pres">
      <dgm:prSet presAssocID="{D2342DA6-3C7E-43E5-B865-EB9AC3B57EC9}" presName="level3hierChild" presStyleCnt="0"/>
      <dgm:spPr/>
    </dgm:pt>
    <dgm:pt modelId="{5C5849B0-0D1C-4FA3-AC10-12B164FB617E}" type="pres">
      <dgm:prSet presAssocID="{CA503648-54B6-4AFA-9551-1753F78356BB}" presName="conn2-1" presStyleLbl="parChTrans1D3" presStyleIdx="7" presStyleCnt="9"/>
      <dgm:spPr/>
    </dgm:pt>
    <dgm:pt modelId="{5142D4AC-F2AA-44B5-85E2-DAC436230CF9}" type="pres">
      <dgm:prSet presAssocID="{CA503648-54B6-4AFA-9551-1753F78356BB}" presName="connTx" presStyleLbl="parChTrans1D3" presStyleIdx="7" presStyleCnt="9"/>
      <dgm:spPr/>
    </dgm:pt>
    <dgm:pt modelId="{D187EA73-AD1A-4FDA-897C-C4F46E7B7FF6}" type="pres">
      <dgm:prSet presAssocID="{36772620-CBA7-4CC2-96A5-B5A75A17D551}" presName="root2" presStyleCnt="0"/>
      <dgm:spPr/>
    </dgm:pt>
    <dgm:pt modelId="{1C4E7CBD-A5F5-4AED-8EC5-F8E3159341E9}" type="pres">
      <dgm:prSet presAssocID="{36772620-CBA7-4CC2-96A5-B5A75A17D551}" presName="LevelTwoTextNode" presStyleLbl="node3" presStyleIdx="7" presStyleCnt="9">
        <dgm:presLayoutVars>
          <dgm:chPref val="3"/>
        </dgm:presLayoutVars>
      </dgm:prSet>
      <dgm:spPr/>
    </dgm:pt>
    <dgm:pt modelId="{BD5D1AF3-DA09-4897-895F-2B406CA8434E}" type="pres">
      <dgm:prSet presAssocID="{36772620-CBA7-4CC2-96A5-B5A75A17D551}" presName="level3hierChild" presStyleCnt="0"/>
      <dgm:spPr/>
    </dgm:pt>
    <dgm:pt modelId="{A23D78ED-6118-4448-85C5-3649C6460D9D}" type="pres">
      <dgm:prSet presAssocID="{9F5CE424-C251-4CA5-974C-22DE040A78D6}" presName="conn2-1" presStyleLbl="parChTrans1D3" presStyleIdx="8" presStyleCnt="9"/>
      <dgm:spPr/>
    </dgm:pt>
    <dgm:pt modelId="{311020DF-78A9-40A7-8AC5-AF7A95691CEA}" type="pres">
      <dgm:prSet presAssocID="{9F5CE424-C251-4CA5-974C-22DE040A78D6}" presName="connTx" presStyleLbl="parChTrans1D3" presStyleIdx="8" presStyleCnt="9"/>
      <dgm:spPr/>
    </dgm:pt>
    <dgm:pt modelId="{6E9460ED-62D6-433F-8ED6-DD9AFF29EA4D}" type="pres">
      <dgm:prSet presAssocID="{589CA551-AFDB-4CAA-A810-E4C7ABDBEE82}" presName="root2" presStyleCnt="0"/>
      <dgm:spPr/>
    </dgm:pt>
    <dgm:pt modelId="{D42BB064-6B09-4205-9336-2170F4C1FED7}" type="pres">
      <dgm:prSet presAssocID="{589CA551-AFDB-4CAA-A810-E4C7ABDBEE82}" presName="LevelTwoTextNode" presStyleLbl="node3" presStyleIdx="8" presStyleCnt="9">
        <dgm:presLayoutVars>
          <dgm:chPref val="3"/>
        </dgm:presLayoutVars>
      </dgm:prSet>
      <dgm:spPr/>
    </dgm:pt>
    <dgm:pt modelId="{2D52CBAD-D455-4259-853B-FC8067EFC7D1}" type="pres">
      <dgm:prSet presAssocID="{589CA551-AFDB-4CAA-A810-E4C7ABDBEE82}" presName="level3hierChild" presStyleCnt="0"/>
      <dgm:spPr/>
    </dgm:pt>
  </dgm:ptLst>
  <dgm:cxnLst>
    <dgm:cxn modelId="{10082D09-A99C-4884-B30B-E6EF1671DAB9}" type="presOf" srcId="{18B32590-E5F3-4401-998B-E9C0DC79B4FB}" destId="{6D237073-4E5B-473D-94D4-790500548F04}" srcOrd="1" destOrd="0" presId="urn:microsoft.com/office/officeart/2008/layout/HorizontalMultiLevelHierarchy"/>
    <dgm:cxn modelId="{C274A10D-CFC7-4D84-9357-E60BCC3B7381}" type="presOf" srcId="{B63C370F-D0B3-4152-BDCE-2012D67D210C}" destId="{15AF63BF-097D-4EBC-B611-17C29F23CA05}" srcOrd="0" destOrd="0" presId="urn:microsoft.com/office/officeart/2008/layout/HorizontalMultiLevelHierarchy"/>
    <dgm:cxn modelId="{949C0111-299F-4F19-97E1-D911F125D186}" srcId="{B63C370F-D0B3-4152-BDCE-2012D67D210C}" destId="{32A7DDBA-45A7-473F-8F28-661BBD8B1889}" srcOrd="2" destOrd="0" parTransId="{34B03A3C-224B-4295-A628-841616B6756E}" sibTransId="{E636D99F-8B69-44B8-BB69-45013EBF827F}"/>
    <dgm:cxn modelId="{8D31631C-82DE-4107-9FFD-466698B43B36}" type="presOf" srcId="{CA503648-54B6-4AFA-9551-1753F78356BB}" destId="{5C5849B0-0D1C-4FA3-AC10-12B164FB617E}" srcOrd="0" destOrd="0" presId="urn:microsoft.com/office/officeart/2008/layout/HorizontalMultiLevelHierarchy"/>
    <dgm:cxn modelId="{B352BE1F-E4B9-4AC7-9A8D-7A8665D67998}" type="presOf" srcId="{9E47BC3C-2047-41EA-9F79-6E94377361E0}" destId="{56A15159-5AC9-410E-B263-A510A2432B32}" srcOrd="0" destOrd="0" presId="urn:microsoft.com/office/officeart/2008/layout/HorizontalMultiLevelHierarchy"/>
    <dgm:cxn modelId="{3F3AA521-F4FF-4DEC-87CC-4C5DCC16E92F}" type="presOf" srcId="{A15A7EAA-F6EB-40A5-8570-D600C9960EBD}" destId="{B545B5F3-FEA8-48BA-9AFE-6BFD55CA7002}" srcOrd="1" destOrd="0" presId="urn:microsoft.com/office/officeart/2008/layout/HorizontalMultiLevelHierarchy"/>
    <dgm:cxn modelId="{A9931B22-2DD5-4799-9F38-D0FEF4D519F8}" srcId="{32A7DDBA-45A7-473F-8F28-661BBD8B1889}" destId="{36772620-CBA7-4CC2-96A5-B5A75A17D551}" srcOrd="1" destOrd="0" parTransId="{CA503648-54B6-4AFA-9551-1753F78356BB}" sibTransId="{E1CE889D-CF59-4381-AE75-64011EB4E296}"/>
    <dgm:cxn modelId="{1D0FAD22-1870-4777-9610-16C7EBF90F21}" type="presOf" srcId="{589CA551-AFDB-4CAA-A810-E4C7ABDBEE82}" destId="{D42BB064-6B09-4205-9336-2170F4C1FED7}" srcOrd="0" destOrd="0" presId="urn:microsoft.com/office/officeart/2008/layout/HorizontalMultiLevelHierarchy"/>
    <dgm:cxn modelId="{16E5392B-3BEC-4C94-8E2D-C6D20957132A}" type="presOf" srcId="{C5DAD821-742F-4528-A4F4-6B39B1DB67B0}" destId="{266F73E3-829B-4CF1-BE18-3CAC45D3CD46}" srcOrd="1" destOrd="0" presId="urn:microsoft.com/office/officeart/2008/layout/HorizontalMultiLevelHierarchy"/>
    <dgm:cxn modelId="{CF254A34-0565-4656-871D-DD8C7B7C5916}" type="presOf" srcId="{CCE64073-FE79-4B04-951D-58491D7046D7}" destId="{1FA15DBF-B50F-4019-9FFC-32C7F856B55A}" srcOrd="0" destOrd="0" presId="urn:microsoft.com/office/officeart/2008/layout/HorizontalMultiLevelHierarchy"/>
    <dgm:cxn modelId="{AF4C8B3E-A806-4682-8DA7-59DF05EC13D5}" type="presOf" srcId="{32A7DDBA-45A7-473F-8F28-661BBD8B1889}" destId="{BECF1E3F-BC6F-4A7D-AE0D-97FF8FE78196}" srcOrd="0" destOrd="0" presId="urn:microsoft.com/office/officeart/2008/layout/HorizontalMultiLevelHierarchy"/>
    <dgm:cxn modelId="{E0DB0840-491A-4B60-AA6C-253571D8828B}" type="presOf" srcId="{4043E1B5-3F39-486A-AF65-4FA92F670BD3}" destId="{D1755E59-6FDD-4310-A9D8-28012BEED599}" srcOrd="1" destOrd="0" presId="urn:microsoft.com/office/officeart/2008/layout/HorizontalMultiLevelHierarchy"/>
    <dgm:cxn modelId="{B8C2A966-62E4-46FB-8EB1-D6ACE2F5B9CF}" type="presOf" srcId="{79E6F2FE-1431-4D3F-A923-C9B812826557}" destId="{58DAF8C7-763E-421D-B937-2AA3327D22B4}" srcOrd="0" destOrd="0" presId="urn:microsoft.com/office/officeart/2008/layout/HorizontalMultiLevelHierarchy"/>
    <dgm:cxn modelId="{F55C4A67-C6B0-422A-96C2-A8A8B7E58AB5}" type="presOf" srcId="{187EA3D4-E7D2-481E-A500-2A13BB66E76A}" destId="{BCDC1301-9220-4559-8314-D0B7ED0127DE}" srcOrd="1" destOrd="0" presId="urn:microsoft.com/office/officeart/2008/layout/HorizontalMultiLevelHierarchy"/>
    <dgm:cxn modelId="{FA769B48-CCBC-4FC9-88A2-7E95A8A6F3FB}" type="presOf" srcId="{C5DAD821-742F-4528-A4F4-6B39B1DB67B0}" destId="{E133D424-9E7D-49FC-903B-275E1F25F124}" srcOrd="0" destOrd="0" presId="urn:microsoft.com/office/officeart/2008/layout/HorizontalMultiLevelHierarchy"/>
    <dgm:cxn modelId="{A208A448-DC7B-4A4E-B611-1633CC7105A2}" type="presOf" srcId="{FD1C1BC4-E5E0-480E-B047-91FD8123F159}" destId="{1AA64B49-885C-404C-8552-0B8E1F7C3A7F}" srcOrd="1" destOrd="0" presId="urn:microsoft.com/office/officeart/2008/layout/HorizontalMultiLevelHierarchy"/>
    <dgm:cxn modelId="{D249DB6A-2170-48A9-B7B0-DF4CBECCFF5F}" srcId="{32A7DDBA-45A7-473F-8F28-661BBD8B1889}" destId="{D2342DA6-3C7E-43E5-B865-EB9AC3B57EC9}" srcOrd="0" destOrd="0" parTransId="{A15A7EAA-F6EB-40A5-8570-D600C9960EBD}" sibTransId="{3E13B34A-BD2F-4C20-A8AB-1787862964B0}"/>
    <dgm:cxn modelId="{F69F8D76-B1A1-4813-9570-1803907E053F}" type="presOf" srcId="{34B03A3C-224B-4295-A628-841616B6756E}" destId="{F733F054-5A15-447F-8E52-7A9CDB808D03}" srcOrd="0" destOrd="0" presId="urn:microsoft.com/office/officeart/2008/layout/HorizontalMultiLevelHierarchy"/>
    <dgm:cxn modelId="{13BDDA76-6CF7-4699-B606-5F5045FAA073}" type="presOf" srcId="{187EA3D4-E7D2-481E-A500-2A13BB66E76A}" destId="{8928A7E9-CDD8-4F1B-BBB4-C07BA8314112}" srcOrd="0" destOrd="0" presId="urn:microsoft.com/office/officeart/2008/layout/HorizontalMultiLevelHierarchy"/>
    <dgm:cxn modelId="{01FAD158-0F82-46CE-B322-BF32F53CC194}" srcId="{B08B3F3B-B2AB-408A-AEF9-40DA7471B8E8}" destId="{9FFF1FD9-1C05-4A9D-A656-205F842000C6}" srcOrd="2" destOrd="0" parTransId="{0AB84C04-E9DF-499A-B186-78A78801B498}" sibTransId="{4DEBA17F-DF42-4D1B-A7D1-27E21178710B}"/>
    <dgm:cxn modelId="{B935515A-0E34-44A3-89B7-40433F54E6D9}" srcId="{3FECB7C7-A597-47C7-ACC3-881067292768}" destId="{CCE64073-FE79-4B04-951D-58491D7046D7}" srcOrd="0" destOrd="0" parTransId="{C5DAD821-742F-4528-A4F4-6B39B1DB67B0}" sibTransId="{0EE215E7-FB21-4C32-9CCA-CD80F76068BD}"/>
    <dgm:cxn modelId="{9715C27F-53C4-4912-A3D0-8609A7FD0A94}" type="presOf" srcId="{B08B3F3B-B2AB-408A-AEF9-40DA7471B8E8}" destId="{24B062D9-891F-4673-9275-E4F62730D662}" srcOrd="0" destOrd="0" presId="urn:microsoft.com/office/officeart/2008/layout/HorizontalMultiLevelHierarchy"/>
    <dgm:cxn modelId="{9F291186-F5B1-4A91-99BA-9EF8C93C853D}" type="presOf" srcId="{CDDACAB3-2B78-4C93-ABEC-F480BDD9B7C5}" destId="{B86FC023-5AA5-4F78-9297-CD6F60BE57CD}" srcOrd="0" destOrd="0" presId="urn:microsoft.com/office/officeart/2008/layout/HorizontalMultiLevelHierarchy"/>
    <dgm:cxn modelId="{6F6F7F95-74A8-45AB-BA67-7AAF0C8BCD8B}" type="presOf" srcId="{4043E1B5-3F39-486A-AF65-4FA92F670BD3}" destId="{FFFDB243-4505-44F2-BB85-C74F3C8DE599}" srcOrd="0" destOrd="0" presId="urn:microsoft.com/office/officeart/2008/layout/HorizontalMultiLevelHierarchy"/>
    <dgm:cxn modelId="{10A45D98-367A-463E-946B-C932E108A3A6}" srcId="{B63C370F-D0B3-4152-BDCE-2012D67D210C}" destId="{B08B3F3B-B2AB-408A-AEF9-40DA7471B8E8}" srcOrd="0" destOrd="0" parTransId="{CDDACAB3-2B78-4C93-ABEC-F480BDD9B7C5}" sibTransId="{A1E1C432-75AD-4052-A603-3ED0EBE112D7}"/>
    <dgm:cxn modelId="{A900E29F-F244-4516-BBEF-E86962CFC627}" type="presOf" srcId="{E0C9E596-356D-43B6-9780-2C7CAB011941}" destId="{DD3D897A-6B6E-4AA3-A9FD-14CE57662DE3}" srcOrd="0" destOrd="0" presId="urn:microsoft.com/office/officeart/2008/layout/HorizontalMultiLevelHierarchy"/>
    <dgm:cxn modelId="{AC5B81A6-195D-4D99-9DA3-8E7303B03BCC}" type="presOf" srcId="{D4845FA8-4D21-4ECF-A5B7-B624F1940077}" destId="{29638BA9-09C0-41B6-A033-6159177D7C14}" srcOrd="1" destOrd="0" presId="urn:microsoft.com/office/officeart/2008/layout/HorizontalMultiLevelHierarchy"/>
    <dgm:cxn modelId="{D46697A7-9118-46EC-86C4-D91BF3F94FDF}" type="presOf" srcId="{9F5CE424-C251-4CA5-974C-22DE040A78D6}" destId="{311020DF-78A9-40A7-8AC5-AF7A95691CEA}" srcOrd="1" destOrd="0" presId="urn:microsoft.com/office/officeart/2008/layout/HorizontalMultiLevelHierarchy"/>
    <dgm:cxn modelId="{515E4BAA-02B3-4958-AD87-970ED6276CC5}" type="presOf" srcId="{89A2921F-624C-4ADA-AC9A-4533B5D96D0B}" destId="{E3DFC742-4887-4D40-B09D-0B128C29A1E0}" srcOrd="0" destOrd="0" presId="urn:microsoft.com/office/officeart/2008/layout/HorizontalMultiLevelHierarchy"/>
    <dgm:cxn modelId="{CCB1EAB8-E8F0-458D-A1C8-C2B42EE509E3}" srcId="{3FECB7C7-A597-47C7-ACC3-881067292768}" destId="{79E6F2FE-1431-4D3F-A923-C9B812826557}" srcOrd="1" destOrd="0" parTransId="{18B32590-E5F3-4401-998B-E9C0DC79B4FB}" sibTransId="{C58B04A0-ECAA-4D00-B295-38BC627013A1}"/>
    <dgm:cxn modelId="{3B3512B9-79FE-44B4-8BFD-6643FB173956}" srcId="{B08B3F3B-B2AB-408A-AEF9-40DA7471B8E8}" destId="{7473901C-534A-4191-BFD4-3A8E5FD19B3B}" srcOrd="1" destOrd="0" parTransId="{4043E1B5-3F39-486A-AF65-4FA92F670BD3}" sibTransId="{8E9522D3-4AFB-4774-997D-1E4F50F03A21}"/>
    <dgm:cxn modelId="{B143DEBC-21E2-4F7C-B5CB-BA471591E71B}" type="presOf" srcId="{36772620-CBA7-4CC2-96A5-B5A75A17D551}" destId="{1C4E7CBD-A5F5-4AED-8EC5-F8E3159341E9}" srcOrd="0" destOrd="0" presId="urn:microsoft.com/office/officeart/2008/layout/HorizontalMultiLevelHierarchy"/>
    <dgm:cxn modelId="{FE5A19BD-2236-48AD-A192-44DF22BCBB95}" srcId="{B08B3F3B-B2AB-408A-AEF9-40DA7471B8E8}" destId="{9E47BC3C-2047-41EA-9F79-6E94377361E0}" srcOrd="0" destOrd="0" parTransId="{D4845FA8-4D21-4ECF-A5B7-B624F1940077}" sibTransId="{9E57C91A-8DAA-464D-A764-CE5D0DE2A150}"/>
    <dgm:cxn modelId="{001857C2-CF00-46BC-91A9-CCC34E805534}" type="presOf" srcId="{A15A7EAA-F6EB-40A5-8570-D600C9960EBD}" destId="{5960513F-EE2B-4181-A374-AB2777448E61}" srcOrd="0" destOrd="0" presId="urn:microsoft.com/office/officeart/2008/layout/HorizontalMultiLevelHierarchy"/>
    <dgm:cxn modelId="{217914C4-50FE-4D51-AD2B-0C9A20EB5F4A}" type="presOf" srcId="{CA503648-54B6-4AFA-9551-1753F78356BB}" destId="{5142D4AC-F2AA-44B5-85E2-DAC436230CF9}" srcOrd="1" destOrd="0" presId="urn:microsoft.com/office/officeart/2008/layout/HorizontalMultiLevelHierarchy"/>
    <dgm:cxn modelId="{EEB9E8C5-2947-470A-826F-250203CF637D}" type="presOf" srcId="{D4845FA8-4D21-4ECF-A5B7-B624F1940077}" destId="{5E13931A-9AAF-4B45-9CFF-59C19939BCA2}" srcOrd="0" destOrd="0" presId="urn:microsoft.com/office/officeart/2008/layout/HorizontalMultiLevelHierarchy"/>
    <dgm:cxn modelId="{37FC39C9-085F-43A4-9BAA-25FAA14DED08}" type="presOf" srcId="{18B32590-E5F3-4401-998B-E9C0DC79B4FB}" destId="{91BFE216-B3E2-4DE1-A461-9CF78F0FD570}" srcOrd="0" destOrd="0" presId="urn:microsoft.com/office/officeart/2008/layout/HorizontalMultiLevelHierarchy"/>
    <dgm:cxn modelId="{7E8717CC-B7C3-4758-995E-0BD1B99337C3}" srcId="{32A7DDBA-45A7-473F-8F28-661BBD8B1889}" destId="{589CA551-AFDB-4CAA-A810-E4C7ABDBEE82}" srcOrd="2" destOrd="0" parTransId="{9F5CE424-C251-4CA5-974C-22DE040A78D6}" sibTransId="{3DC18603-4BA0-494A-BD61-99394427F95A}"/>
    <dgm:cxn modelId="{8D204DCC-4BA0-4DDB-8FD7-017D9C9A71B6}" type="presOf" srcId="{0AB84C04-E9DF-499A-B186-78A78801B498}" destId="{94E2696E-9606-46A1-A0E6-756BC8903EF8}" srcOrd="1" destOrd="0" presId="urn:microsoft.com/office/officeart/2008/layout/HorizontalMultiLevelHierarchy"/>
    <dgm:cxn modelId="{2A7EBACF-EFE9-4C35-9BDB-F6072E6C328A}" type="presOf" srcId="{9F5CE424-C251-4CA5-974C-22DE040A78D6}" destId="{A23D78ED-6118-4448-85C5-3649C6460D9D}" srcOrd="0" destOrd="0" presId="urn:microsoft.com/office/officeart/2008/layout/HorizontalMultiLevelHierarchy"/>
    <dgm:cxn modelId="{E4A9DDD3-639C-4C5B-9BF5-9EA3BCED2904}" srcId="{3FECB7C7-A597-47C7-ACC3-881067292768}" destId="{E0C9E596-356D-43B6-9780-2C7CAB011941}" srcOrd="2" destOrd="0" parTransId="{FD1C1BC4-E5E0-480E-B047-91FD8123F159}" sibTransId="{258A73B2-9DDD-43CD-900E-2E40900388C0}"/>
    <dgm:cxn modelId="{29DE41D6-E6CC-4D1A-9385-044EE25DA24F}" type="presOf" srcId="{9FFF1FD9-1C05-4A9D-A656-205F842000C6}" destId="{EBB44A27-D449-4FAA-9A43-3634DCD01467}" srcOrd="0" destOrd="0" presId="urn:microsoft.com/office/officeart/2008/layout/HorizontalMultiLevelHierarchy"/>
    <dgm:cxn modelId="{2B613FD7-A3C9-43B0-8852-2B3669F0B0C3}" srcId="{B63C370F-D0B3-4152-BDCE-2012D67D210C}" destId="{3FECB7C7-A597-47C7-ACC3-881067292768}" srcOrd="1" destOrd="0" parTransId="{187EA3D4-E7D2-481E-A500-2A13BB66E76A}" sibTransId="{962C6E63-3867-4D77-B0E3-671156408FB2}"/>
    <dgm:cxn modelId="{5047B3D7-E4EA-44CF-ADDA-70AC54C58482}" type="presOf" srcId="{3FECB7C7-A597-47C7-ACC3-881067292768}" destId="{7AAD6E8A-D1AC-4C73-8EAC-42C29479C60D}" srcOrd="0" destOrd="0" presId="urn:microsoft.com/office/officeart/2008/layout/HorizontalMultiLevelHierarchy"/>
    <dgm:cxn modelId="{9C2D6DD9-758A-4089-A3A3-80CF81365EEE}" type="presOf" srcId="{D2342DA6-3C7E-43E5-B865-EB9AC3B57EC9}" destId="{6C832B41-8D46-4FC6-8B9E-56C0780A9437}" srcOrd="0" destOrd="0" presId="urn:microsoft.com/office/officeart/2008/layout/HorizontalMultiLevelHierarchy"/>
    <dgm:cxn modelId="{406586DA-D35C-42BB-9E3E-1B2E043281EB}" srcId="{89A2921F-624C-4ADA-AC9A-4533B5D96D0B}" destId="{B63C370F-D0B3-4152-BDCE-2012D67D210C}" srcOrd="0" destOrd="0" parTransId="{5169D9AA-75C6-42D6-9207-BA2A7D238FC2}" sibTransId="{D1440289-004E-4AD5-B502-56DD2CE750BC}"/>
    <dgm:cxn modelId="{AB70E1DA-3749-4CE7-A068-8D9147C01C61}" type="presOf" srcId="{7473901C-534A-4191-BFD4-3A8E5FD19B3B}" destId="{8DA5CF6A-7F14-436D-A4E3-44796FC9C617}" srcOrd="0" destOrd="0" presId="urn:microsoft.com/office/officeart/2008/layout/HorizontalMultiLevelHierarchy"/>
    <dgm:cxn modelId="{F89645E3-41A3-4994-A3D1-0149BC0AFBD7}" type="presOf" srcId="{34B03A3C-224B-4295-A628-841616B6756E}" destId="{E5726B2C-9AD7-4642-A4FC-E2C58D810867}" srcOrd="1" destOrd="0" presId="urn:microsoft.com/office/officeart/2008/layout/HorizontalMultiLevelHierarchy"/>
    <dgm:cxn modelId="{9339F8E7-4947-4CB7-A1B8-BF8DBF23D66B}" type="presOf" srcId="{FD1C1BC4-E5E0-480E-B047-91FD8123F159}" destId="{45C894BC-9694-4D81-BF1B-4A730626DAA4}" srcOrd="0" destOrd="0" presId="urn:microsoft.com/office/officeart/2008/layout/HorizontalMultiLevelHierarchy"/>
    <dgm:cxn modelId="{1F1668EB-F139-42AE-8374-DA490F60D407}" type="presOf" srcId="{CDDACAB3-2B78-4C93-ABEC-F480BDD9B7C5}" destId="{70F77F80-3D0B-461D-9297-114126A02F8E}" srcOrd="1" destOrd="0" presId="urn:microsoft.com/office/officeart/2008/layout/HorizontalMultiLevelHierarchy"/>
    <dgm:cxn modelId="{9A2AB4F4-D7F8-4596-88ED-23BA5CD2FF3E}" type="presOf" srcId="{0AB84C04-E9DF-499A-B186-78A78801B498}" destId="{96CB63D9-7018-45B0-B99B-7A371EA7C2A8}" srcOrd="0" destOrd="0" presId="urn:microsoft.com/office/officeart/2008/layout/HorizontalMultiLevelHierarchy"/>
    <dgm:cxn modelId="{3B4FAC9B-CC62-44BD-B997-6CF16EF17557}" type="presParOf" srcId="{E3DFC742-4887-4D40-B09D-0B128C29A1E0}" destId="{0ECAF371-1EA1-4848-8B5A-ED30F8C180F0}" srcOrd="0" destOrd="0" presId="urn:microsoft.com/office/officeart/2008/layout/HorizontalMultiLevelHierarchy"/>
    <dgm:cxn modelId="{D956E7CA-F535-4610-805D-3E2C9197D42B}" type="presParOf" srcId="{0ECAF371-1EA1-4848-8B5A-ED30F8C180F0}" destId="{15AF63BF-097D-4EBC-B611-17C29F23CA05}" srcOrd="0" destOrd="0" presId="urn:microsoft.com/office/officeart/2008/layout/HorizontalMultiLevelHierarchy"/>
    <dgm:cxn modelId="{9E215459-5ED0-49B4-85F8-61483DE62DA9}" type="presParOf" srcId="{0ECAF371-1EA1-4848-8B5A-ED30F8C180F0}" destId="{25EF7B79-3927-4700-AA72-AF027D9675ED}" srcOrd="1" destOrd="0" presId="urn:microsoft.com/office/officeart/2008/layout/HorizontalMultiLevelHierarchy"/>
    <dgm:cxn modelId="{0B65C88C-750C-401E-A00C-FDBA3A9626F7}" type="presParOf" srcId="{25EF7B79-3927-4700-AA72-AF027D9675ED}" destId="{B86FC023-5AA5-4F78-9297-CD6F60BE57CD}" srcOrd="0" destOrd="0" presId="urn:microsoft.com/office/officeart/2008/layout/HorizontalMultiLevelHierarchy"/>
    <dgm:cxn modelId="{FD90E172-77DC-49A3-AF20-B81F98148EF9}" type="presParOf" srcId="{B86FC023-5AA5-4F78-9297-CD6F60BE57CD}" destId="{70F77F80-3D0B-461D-9297-114126A02F8E}" srcOrd="0" destOrd="0" presId="urn:microsoft.com/office/officeart/2008/layout/HorizontalMultiLevelHierarchy"/>
    <dgm:cxn modelId="{EFE8C33D-5DD1-4B23-AD54-C9FC37CC66DC}" type="presParOf" srcId="{25EF7B79-3927-4700-AA72-AF027D9675ED}" destId="{C000E74F-D4A7-403F-987A-A750D8490CA8}" srcOrd="1" destOrd="0" presId="urn:microsoft.com/office/officeart/2008/layout/HorizontalMultiLevelHierarchy"/>
    <dgm:cxn modelId="{0871ABC4-DA2E-4CB1-8910-C73AC2066B44}" type="presParOf" srcId="{C000E74F-D4A7-403F-987A-A750D8490CA8}" destId="{24B062D9-891F-4673-9275-E4F62730D662}" srcOrd="0" destOrd="0" presId="urn:microsoft.com/office/officeart/2008/layout/HorizontalMultiLevelHierarchy"/>
    <dgm:cxn modelId="{682E7C61-CBFE-4CFE-9E0E-ED78AB63F752}" type="presParOf" srcId="{C000E74F-D4A7-403F-987A-A750D8490CA8}" destId="{B12881B7-08FC-4734-ACCA-FE86845D6C34}" srcOrd="1" destOrd="0" presId="urn:microsoft.com/office/officeart/2008/layout/HorizontalMultiLevelHierarchy"/>
    <dgm:cxn modelId="{9BB308F1-14B6-4534-9721-3F9020955683}" type="presParOf" srcId="{B12881B7-08FC-4734-ACCA-FE86845D6C34}" destId="{5E13931A-9AAF-4B45-9CFF-59C19939BCA2}" srcOrd="0" destOrd="0" presId="urn:microsoft.com/office/officeart/2008/layout/HorizontalMultiLevelHierarchy"/>
    <dgm:cxn modelId="{0F47F14D-335C-4310-8EF9-D3BAF389C2FE}" type="presParOf" srcId="{5E13931A-9AAF-4B45-9CFF-59C19939BCA2}" destId="{29638BA9-09C0-41B6-A033-6159177D7C14}" srcOrd="0" destOrd="0" presId="urn:microsoft.com/office/officeart/2008/layout/HorizontalMultiLevelHierarchy"/>
    <dgm:cxn modelId="{692FDB02-4D1C-4F92-BDA6-684022088F75}" type="presParOf" srcId="{B12881B7-08FC-4734-ACCA-FE86845D6C34}" destId="{50496C6D-31EF-42EA-A3E6-2BF06C5D6756}" srcOrd="1" destOrd="0" presId="urn:microsoft.com/office/officeart/2008/layout/HorizontalMultiLevelHierarchy"/>
    <dgm:cxn modelId="{536A7A43-D991-40D1-94C6-F244240DEDD3}" type="presParOf" srcId="{50496C6D-31EF-42EA-A3E6-2BF06C5D6756}" destId="{56A15159-5AC9-410E-B263-A510A2432B32}" srcOrd="0" destOrd="0" presId="urn:microsoft.com/office/officeart/2008/layout/HorizontalMultiLevelHierarchy"/>
    <dgm:cxn modelId="{EE68291E-2056-4A73-B653-E98795838573}" type="presParOf" srcId="{50496C6D-31EF-42EA-A3E6-2BF06C5D6756}" destId="{7C8AA0AA-60AE-40BA-A2DF-82B086F65561}" srcOrd="1" destOrd="0" presId="urn:microsoft.com/office/officeart/2008/layout/HorizontalMultiLevelHierarchy"/>
    <dgm:cxn modelId="{463C7111-D23C-40CA-8B53-D13D28DCF920}" type="presParOf" srcId="{B12881B7-08FC-4734-ACCA-FE86845D6C34}" destId="{FFFDB243-4505-44F2-BB85-C74F3C8DE599}" srcOrd="2" destOrd="0" presId="urn:microsoft.com/office/officeart/2008/layout/HorizontalMultiLevelHierarchy"/>
    <dgm:cxn modelId="{DAE5D6B2-5DF5-414D-BF81-BE90D6D95B6D}" type="presParOf" srcId="{FFFDB243-4505-44F2-BB85-C74F3C8DE599}" destId="{D1755E59-6FDD-4310-A9D8-28012BEED599}" srcOrd="0" destOrd="0" presId="urn:microsoft.com/office/officeart/2008/layout/HorizontalMultiLevelHierarchy"/>
    <dgm:cxn modelId="{5CEDF917-BD18-4388-94B6-FFD6B87E6079}" type="presParOf" srcId="{B12881B7-08FC-4734-ACCA-FE86845D6C34}" destId="{E2C4BB5B-8DF1-4E4C-B557-37769974EE04}" srcOrd="3" destOrd="0" presId="urn:microsoft.com/office/officeart/2008/layout/HorizontalMultiLevelHierarchy"/>
    <dgm:cxn modelId="{141F5F17-83B0-4C73-AB60-9ED74AA0726C}" type="presParOf" srcId="{E2C4BB5B-8DF1-4E4C-B557-37769974EE04}" destId="{8DA5CF6A-7F14-436D-A4E3-44796FC9C617}" srcOrd="0" destOrd="0" presId="urn:microsoft.com/office/officeart/2008/layout/HorizontalMultiLevelHierarchy"/>
    <dgm:cxn modelId="{AAFB2D3D-90E7-4EE4-9F63-4FB9DF564219}" type="presParOf" srcId="{E2C4BB5B-8DF1-4E4C-B557-37769974EE04}" destId="{52AAA3F1-279B-40AA-B450-0FC9962DF5EA}" srcOrd="1" destOrd="0" presId="urn:microsoft.com/office/officeart/2008/layout/HorizontalMultiLevelHierarchy"/>
    <dgm:cxn modelId="{6CFFE654-A815-45BC-9B3B-603B4C8018F3}" type="presParOf" srcId="{B12881B7-08FC-4734-ACCA-FE86845D6C34}" destId="{96CB63D9-7018-45B0-B99B-7A371EA7C2A8}" srcOrd="4" destOrd="0" presId="urn:microsoft.com/office/officeart/2008/layout/HorizontalMultiLevelHierarchy"/>
    <dgm:cxn modelId="{6D103995-8A49-499A-AF1A-09E1E88AC7C9}" type="presParOf" srcId="{96CB63D9-7018-45B0-B99B-7A371EA7C2A8}" destId="{94E2696E-9606-46A1-A0E6-756BC8903EF8}" srcOrd="0" destOrd="0" presId="urn:microsoft.com/office/officeart/2008/layout/HorizontalMultiLevelHierarchy"/>
    <dgm:cxn modelId="{31DCEB1C-054B-4F9A-976B-F5CA6A913E5E}" type="presParOf" srcId="{B12881B7-08FC-4734-ACCA-FE86845D6C34}" destId="{69626E34-A187-4F05-80FA-D324204B162D}" srcOrd="5" destOrd="0" presId="urn:microsoft.com/office/officeart/2008/layout/HorizontalMultiLevelHierarchy"/>
    <dgm:cxn modelId="{274A6135-4577-4212-98A4-82D75CB9FBCD}" type="presParOf" srcId="{69626E34-A187-4F05-80FA-D324204B162D}" destId="{EBB44A27-D449-4FAA-9A43-3634DCD01467}" srcOrd="0" destOrd="0" presId="urn:microsoft.com/office/officeart/2008/layout/HorizontalMultiLevelHierarchy"/>
    <dgm:cxn modelId="{7F5373E0-4BD4-4930-9B16-9310891A2B0B}" type="presParOf" srcId="{69626E34-A187-4F05-80FA-D324204B162D}" destId="{C6EFC102-B8F9-4BAE-A085-A85E0A723E42}" srcOrd="1" destOrd="0" presId="urn:microsoft.com/office/officeart/2008/layout/HorizontalMultiLevelHierarchy"/>
    <dgm:cxn modelId="{696FBF3E-92CC-4199-9C6A-4DE71B9AC31D}" type="presParOf" srcId="{25EF7B79-3927-4700-AA72-AF027D9675ED}" destId="{8928A7E9-CDD8-4F1B-BBB4-C07BA8314112}" srcOrd="2" destOrd="0" presId="urn:microsoft.com/office/officeart/2008/layout/HorizontalMultiLevelHierarchy"/>
    <dgm:cxn modelId="{F5680AA5-AFCF-42DE-863C-851FE1521A45}" type="presParOf" srcId="{8928A7E9-CDD8-4F1B-BBB4-C07BA8314112}" destId="{BCDC1301-9220-4559-8314-D0B7ED0127DE}" srcOrd="0" destOrd="0" presId="urn:microsoft.com/office/officeart/2008/layout/HorizontalMultiLevelHierarchy"/>
    <dgm:cxn modelId="{88A8B1E9-8469-4916-A257-4210C5711C60}" type="presParOf" srcId="{25EF7B79-3927-4700-AA72-AF027D9675ED}" destId="{46251072-7595-4EFB-8051-02C1A022DE1E}" srcOrd="3" destOrd="0" presId="urn:microsoft.com/office/officeart/2008/layout/HorizontalMultiLevelHierarchy"/>
    <dgm:cxn modelId="{6830EE27-948D-48C5-A323-7D6A867F6A55}" type="presParOf" srcId="{46251072-7595-4EFB-8051-02C1A022DE1E}" destId="{7AAD6E8A-D1AC-4C73-8EAC-42C29479C60D}" srcOrd="0" destOrd="0" presId="urn:microsoft.com/office/officeart/2008/layout/HorizontalMultiLevelHierarchy"/>
    <dgm:cxn modelId="{8DB160CD-2A97-4985-BA09-AFA40A418BC1}" type="presParOf" srcId="{46251072-7595-4EFB-8051-02C1A022DE1E}" destId="{A3FD7636-451D-4E84-A515-BCBAFF8FBCC6}" srcOrd="1" destOrd="0" presId="urn:microsoft.com/office/officeart/2008/layout/HorizontalMultiLevelHierarchy"/>
    <dgm:cxn modelId="{7804A8D9-1063-46F4-92BB-611DEE0536F3}" type="presParOf" srcId="{A3FD7636-451D-4E84-A515-BCBAFF8FBCC6}" destId="{E133D424-9E7D-49FC-903B-275E1F25F124}" srcOrd="0" destOrd="0" presId="urn:microsoft.com/office/officeart/2008/layout/HorizontalMultiLevelHierarchy"/>
    <dgm:cxn modelId="{4AEFB88B-ED03-482F-9303-A5AF668E2FBF}" type="presParOf" srcId="{E133D424-9E7D-49FC-903B-275E1F25F124}" destId="{266F73E3-829B-4CF1-BE18-3CAC45D3CD46}" srcOrd="0" destOrd="0" presId="urn:microsoft.com/office/officeart/2008/layout/HorizontalMultiLevelHierarchy"/>
    <dgm:cxn modelId="{EEC890A1-05E1-48AB-A262-45D6AC97715A}" type="presParOf" srcId="{A3FD7636-451D-4E84-A515-BCBAFF8FBCC6}" destId="{B622A1FD-9E62-46F9-9762-DF71CA32D621}" srcOrd="1" destOrd="0" presId="urn:microsoft.com/office/officeart/2008/layout/HorizontalMultiLevelHierarchy"/>
    <dgm:cxn modelId="{277FEEC9-0419-41B3-B209-95D4010B563A}" type="presParOf" srcId="{B622A1FD-9E62-46F9-9762-DF71CA32D621}" destId="{1FA15DBF-B50F-4019-9FFC-32C7F856B55A}" srcOrd="0" destOrd="0" presId="urn:microsoft.com/office/officeart/2008/layout/HorizontalMultiLevelHierarchy"/>
    <dgm:cxn modelId="{63174EA0-691D-42B2-8C2B-71559C469D1F}" type="presParOf" srcId="{B622A1FD-9E62-46F9-9762-DF71CA32D621}" destId="{C008D95D-3790-4F96-8ABC-699C9C10107D}" srcOrd="1" destOrd="0" presId="urn:microsoft.com/office/officeart/2008/layout/HorizontalMultiLevelHierarchy"/>
    <dgm:cxn modelId="{0A31A9DD-5BBD-4A55-ADB5-30893EB39D59}" type="presParOf" srcId="{A3FD7636-451D-4E84-A515-BCBAFF8FBCC6}" destId="{91BFE216-B3E2-4DE1-A461-9CF78F0FD570}" srcOrd="2" destOrd="0" presId="urn:microsoft.com/office/officeart/2008/layout/HorizontalMultiLevelHierarchy"/>
    <dgm:cxn modelId="{B6933C8F-B98B-45E0-8F99-ADC1CC671616}" type="presParOf" srcId="{91BFE216-B3E2-4DE1-A461-9CF78F0FD570}" destId="{6D237073-4E5B-473D-94D4-790500548F04}" srcOrd="0" destOrd="0" presId="urn:microsoft.com/office/officeart/2008/layout/HorizontalMultiLevelHierarchy"/>
    <dgm:cxn modelId="{DD57667C-DEAD-448C-A23D-8078388F337F}" type="presParOf" srcId="{A3FD7636-451D-4E84-A515-BCBAFF8FBCC6}" destId="{8DFB42E2-419F-481E-82DC-DDA6E77C8155}" srcOrd="3" destOrd="0" presId="urn:microsoft.com/office/officeart/2008/layout/HorizontalMultiLevelHierarchy"/>
    <dgm:cxn modelId="{07850824-19A3-4843-A4BA-16C0971B4B02}" type="presParOf" srcId="{8DFB42E2-419F-481E-82DC-DDA6E77C8155}" destId="{58DAF8C7-763E-421D-B937-2AA3327D22B4}" srcOrd="0" destOrd="0" presId="urn:microsoft.com/office/officeart/2008/layout/HorizontalMultiLevelHierarchy"/>
    <dgm:cxn modelId="{B4A68B2C-F4F7-463C-ACB2-93CD96BEED01}" type="presParOf" srcId="{8DFB42E2-419F-481E-82DC-DDA6E77C8155}" destId="{46B9F7E9-C9FD-4C8A-BC94-236038D74DEA}" srcOrd="1" destOrd="0" presId="urn:microsoft.com/office/officeart/2008/layout/HorizontalMultiLevelHierarchy"/>
    <dgm:cxn modelId="{A06248A4-E606-4CED-A165-A87136F1BB74}" type="presParOf" srcId="{A3FD7636-451D-4E84-A515-BCBAFF8FBCC6}" destId="{45C894BC-9694-4D81-BF1B-4A730626DAA4}" srcOrd="4" destOrd="0" presId="urn:microsoft.com/office/officeart/2008/layout/HorizontalMultiLevelHierarchy"/>
    <dgm:cxn modelId="{07F67000-5727-4D58-9562-3487CFFE081B}" type="presParOf" srcId="{45C894BC-9694-4D81-BF1B-4A730626DAA4}" destId="{1AA64B49-885C-404C-8552-0B8E1F7C3A7F}" srcOrd="0" destOrd="0" presId="urn:microsoft.com/office/officeart/2008/layout/HorizontalMultiLevelHierarchy"/>
    <dgm:cxn modelId="{943FC050-8277-4082-87E5-09EE81D6BC8A}" type="presParOf" srcId="{A3FD7636-451D-4E84-A515-BCBAFF8FBCC6}" destId="{15E57701-AEEB-4213-A312-7CC0BEC6E1E0}" srcOrd="5" destOrd="0" presId="urn:microsoft.com/office/officeart/2008/layout/HorizontalMultiLevelHierarchy"/>
    <dgm:cxn modelId="{AFC1C3A8-775F-49DC-A83E-44B9DFD026C4}" type="presParOf" srcId="{15E57701-AEEB-4213-A312-7CC0BEC6E1E0}" destId="{DD3D897A-6B6E-4AA3-A9FD-14CE57662DE3}" srcOrd="0" destOrd="0" presId="urn:microsoft.com/office/officeart/2008/layout/HorizontalMultiLevelHierarchy"/>
    <dgm:cxn modelId="{C2E33CC3-081D-4755-AE81-B80564B81347}" type="presParOf" srcId="{15E57701-AEEB-4213-A312-7CC0BEC6E1E0}" destId="{AFF8B6D3-5EE8-4025-AE3D-FA08943CD0D0}" srcOrd="1" destOrd="0" presId="urn:microsoft.com/office/officeart/2008/layout/HorizontalMultiLevelHierarchy"/>
    <dgm:cxn modelId="{D78DB89C-09B9-408D-AC9B-5A7C2D4F1B4A}" type="presParOf" srcId="{25EF7B79-3927-4700-AA72-AF027D9675ED}" destId="{F733F054-5A15-447F-8E52-7A9CDB808D03}" srcOrd="4" destOrd="0" presId="urn:microsoft.com/office/officeart/2008/layout/HorizontalMultiLevelHierarchy"/>
    <dgm:cxn modelId="{8AF2E85C-2D0A-459B-8401-F8AE681896E4}" type="presParOf" srcId="{F733F054-5A15-447F-8E52-7A9CDB808D03}" destId="{E5726B2C-9AD7-4642-A4FC-E2C58D810867}" srcOrd="0" destOrd="0" presId="urn:microsoft.com/office/officeart/2008/layout/HorizontalMultiLevelHierarchy"/>
    <dgm:cxn modelId="{6054D4E1-B0DC-4265-98C2-719AD1445E09}" type="presParOf" srcId="{25EF7B79-3927-4700-AA72-AF027D9675ED}" destId="{89D2C9F1-ACA9-46B6-A0EE-ECA1423B56AF}" srcOrd="5" destOrd="0" presId="urn:microsoft.com/office/officeart/2008/layout/HorizontalMultiLevelHierarchy"/>
    <dgm:cxn modelId="{1D573A20-83F6-4C37-A6F3-75CD19E3EE73}" type="presParOf" srcId="{89D2C9F1-ACA9-46B6-A0EE-ECA1423B56AF}" destId="{BECF1E3F-BC6F-4A7D-AE0D-97FF8FE78196}" srcOrd="0" destOrd="0" presId="urn:microsoft.com/office/officeart/2008/layout/HorizontalMultiLevelHierarchy"/>
    <dgm:cxn modelId="{02573FAC-A0A3-4BB6-987D-4709519E1B2F}" type="presParOf" srcId="{89D2C9F1-ACA9-46B6-A0EE-ECA1423B56AF}" destId="{1803C581-172F-4B82-BFE7-6F70D3810A31}" srcOrd="1" destOrd="0" presId="urn:microsoft.com/office/officeart/2008/layout/HorizontalMultiLevelHierarchy"/>
    <dgm:cxn modelId="{C431591C-F827-4EC1-9A9D-B3ABAACEE81E}" type="presParOf" srcId="{1803C581-172F-4B82-BFE7-6F70D3810A31}" destId="{5960513F-EE2B-4181-A374-AB2777448E61}" srcOrd="0" destOrd="0" presId="urn:microsoft.com/office/officeart/2008/layout/HorizontalMultiLevelHierarchy"/>
    <dgm:cxn modelId="{3F6EE0D8-3019-4E5E-9E99-71535F3CD008}" type="presParOf" srcId="{5960513F-EE2B-4181-A374-AB2777448E61}" destId="{B545B5F3-FEA8-48BA-9AFE-6BFD55CA7002}" srcOrd="0" destOrd="0" presId="urn:microsoft.com/office/officeart/2008/layout/HorizontalMultiLevelHierarchy"/>
    <dgm:cxn modelId="{57CB75EB-917C-41E3-A63A-0B55A4A86A16}" type="presParOf" srcId="{1803C581-172F-4B82-BFE7-6F70D3810A31}" destId="{EA043707-2972-4EBD-92E1-83340204559D}" srcOrd="1" destOrd="0" presId="urn:microsoft.com/office/officeart/2008/layout/HorizontalMultiLevelHierarchy"/>
    <dgm:cxn modelId="{F0319F48-996B-4FB6-916D-1CA143EAE9F5}" type="presParOf" srcId="{EA043707-2972-4EBD-92E1-83340204559D}" destId="{6C832B41-8D46-4FC6-8B9E-56C0780A9437}" srcOrd="0" destOrd="0" presId="urn:microsoft.com/office/officeart/2008/layout/HorizontalMultiLevelHierarchy"/>
    <dgm:cxn modelId="{FE7564E2-1466-416D-B69D-BE6103C887FB}" type="presParOf" srcId="{EA043707-2972-4EBD-92E1-83340204559D}" destId="{CD69E413-E479-488F-B86B-73509376D0ED}" srcOrd="1" destOrd="0" presId="urn:microsoft.com/office/officeart/2008/layout/HorizontalMultiLevelHierarchy"/>
    <dgm:cxn modelId="{B75585C6-C00A-4A8F-8D79-2D77B37AE387}" type="presParOf" srcId="{1803C581-172F-4B82-BFE7-6F70D3810A31}" destId="{5C5849B0-0D1C-4FA3-AC10-12B164FB617E}" srcOrd="2" destOrd="0" presId="urn:microsoft.com/office/officeart/2008/layout/HorizontalMultiLevelHierarchy"/>
    <dgm:cxn modelId="{28700E9E-C8A0-42B2-B725-602EB5A23C93}" type="presParOf" srcId="{5C5849B0-0D1C-4FA3-AC10-12B164FB617E}" destId="{5142D4AC-F2AA-44B5-85E2-DAC436230CF9}" srcOrd="0" destOrd="0" presId="urn:microsoft.com/office/officeart/2008/layout/HorizontalMultiLevelHierarchy"/>
    <dgm:cxn modelId="{9CDA018F-E9A0-4B00-BA1C-F5F045EC30DA}" type="presParOf" srcId="{1803C581-172F-4B82-BFE7-6F70D3810A31}" destId="{D187EA73-AD1A-4FDA-897C-C4F46E7B7FF6}" srcOrd="3" destOrd="0" presId="urn:microsoft.com/office/officeart/2008/layout/HorizontalMultiLevelHierarchy"/>
    <dgm:cxn modelId="{C77DD933-2F30-4806-AC61-B11C6FD7572A}" type="presParOf" srcId="{D187EA73-AD1A-4FDA-897C-C4F46E7B7FF6}" destId="{1C4E7CBD-A5F5-4AED-8EC5-F8E3159341E9}" srcOrd="0" destOrd="0" presId="urn:microsoft.com/office/officeart/2008/layout/HorizontalMultiLevelHierarchy"/>
    <dgm:cxn modelId="{A2379513-BB80-47D9-B645-2EB27089E4F8}" type="presParOf" srcId="{D187EA73-AD1A-4FDA-897C-C4F46E7B7FF6}" destId="{BD5D1AF3-DA09-4897-895F-2B406CA8434E}" srcOrd="1" destOrd="0" presId="urn:microsoft.com/office/officeart/2008/layout/HorizontalMultiLevelHierarchy"/>
    <dgm:cxn modelId="{C2CB15A5-0C03-45E3-8CA0-81C8CA344F65}" type="presParOf" srcId="{1803C581-172F-4B82-BFE7-6F70D3810A31}" destId="{A23D78ED-6118-4448-85C5-3649C6460D9D}" srcOrd="4" destOrd="0" presId="urn:microsoft.com/office/officeart/2008/layout/HorizontalMultiLevelHierarchy"/>
    <dgm:cxn modelId="{CEC21AE0-4D26-4DB5-B8FC-E896F28DCCB3}" type="presParOf" srcId="{A23D78ED-6118-4448-85C5-3649C6460D9D}" destId="{311020DF-78A9-40A7-8AC5-AF7A95691CEA}" srcOrd="0" destOrd="0" presId="urn:microsoft.com/office/officeart/2008/layout/HorizontalMultiLevelHierarchy"/>
    <dgm:cxn modelId="{4FE04E1D-DAB5-464F-8DB1-2A054FA9FE74}" type="presParOf" srcId="{1803C581-172F-4B82-BFE7-6F70D3810A31}" destId="{6E9460ED-62D6-433F-8ED6-DD9AFF29EA4D}" srcOrd="5" destOrd="0" presId="urn:microsoft.com/office/officeart/2008/layout/HorizontalMultiLevelHierarchy"/>
    <dgm:cxn modelId="{A8940160-D1D0-4547-8D00-652A46E7A946}" type="presParOf" srcId="{6E9460ED-62D6-433F-8ED6-DD9AFF29EA4D}" destId="{D42BB064-6B09-4205-9336-2170F4C1FED7}" srcOrd="0" destOrd="0" presId="urn:microsoft.com/office/officeart/2008/layout/HorizontalMultiLevelHierarchy"/>
    <dgm:cxn modelId="{EF643B32-782D-463B-B0DA-D48C3B123841}" type="presParOf" srcId="{6E9460ED-62D6-433F-8ED6-DD9AFF29EA4D}" destId="{2D52CBAD-D455-4259-853B-FC8067EFC7D1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7007" y="276699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1 (Intro)</a:t>
          </a:r>
          <a:endParaRPr lang="en-US" sz="500" kern="1200" dirty="0"/>
        </a:p>
      </dsp:txBody>
      <dsp:txXfrm>
        <a:off x="290435" y="276699"/>
        <a:ext cx="850285" cy="566856"/>
      </dsp:txXfrm>
    </dsp:sp>
    <dsp:sp modelId="{AB408634-0CD4-418B-9B48-9AAC90E1180B}">
      <dsp:nvSpPr>
        <dsp:cNvPr id="0" name=""/>
        <dsp:cNvSpPr/>
      </dsp:nvSpPr>
      <dsp:spPr>
        <a:xfrm>
          <a:off x="1239920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ISTAR Data</a:t>
          </a:r>
          <a:endParaRPr lang="en-US" sz="400" kern="1200" dirty="0"/>
        </a:p>
      </dsp:txBody>
      <dsp:txXfrm>
        <a:off x="1475165" y="324882"/>
        <a:ext cx="705737" cy="470490"/>
      </dsp:txXfrm>
    </dsp:sp>
    <dsp:sp modelId="{B799F94F-6E46-4AFE-8722-BF49A0D459B0}">
      <dsp:nvSpPr>
        <dsp:cNvPr id="0" name=""/>
        <dsp:cNvSpPr/>
      </dsp:nvSpPr>
      <dsp:spPr>
        <a:xfrm>
          <a:off x="2251476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y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stly</a:t>
          </a:r>
          <a:r>
            <a:rPr lang="de-DE" sz="400" kern="1200" dirty="0"/>
            <a:t> </a:t>
          </a:r>
          <a:r>
            <a:rPr lang="de-DE" sz="400" kern="1200" dirty="0" err="1"/>
            <a:t>mistakes</a:t>
          </a:r>
          <a:r>
            <a:rPr lang="de-DE" sz="400" kern="1200" dirty="0"/>
            <a:t>/faul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etter</a:t>
          </a:r>
          <a:r>
            <a:rPr lang="de-DE" sz="400" kern="1200" dirty="0"/>
            <a:t> </a:t>
          </a:r>
          <a:r>
            <a:rPr lang="de-DE" sz="400" kern="1200" dirty="0" err="1"/>
            <a:t>over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Quicker </a:t>
          </a:r>
          <a:r>
            <a:rPr lang="de-DE" sz="400" kern="1200" dirty="0" err="1"/>
            <a:t>reaction</a:t>
          </a:r>
          <a:r>
            <a:rPr lang="de-DE" sz="400" kern="1200" dirty="0"/>
            <a:t> tim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ulfillment FAIR (quick </a:t>
          </a:r>
          <a:r>
            <a:rPr lang="de-DE" sz="400" kern="1200" dirty="0" err="1"/>
            <a:t>overview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afety</a:t>
          </a:r>
          <a:r>
            <a:rPr lang="de-DE" sz="400" kern="1200" dirty="0"/>
            <a:t> </a:t>
          </a:r>
          <a:r>
            <a:rPr lang="de-DE" sz="400" kern="1200" dirty="0" err="1"/>
            <a:t>critical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</a:t>
          </a:r>
          <a:r>
            <a:rPr lang="de-DE" sz="400" kern="1200" dirty="0" err="1"/>
            <a:t>may</a:t>
          </a:r>
          <a:r>
            <a:rPr lang="de-DE" sz="400" kern="1200" dirty="0"/>
            <a:t> </a:t>
          </a:r>
          <a:r>
            <a:rPr lang="de-DE" sz="400" kern="1200" dirty="0" err="1"/>
            <a:t>be</a:t>
          </a:r>
          <a:r>
            <a:rPr lang="de-DE" sz="400" kern="1200" dirty="0"/>
            <a:t> </a:t>
          </a:r>
          <a:r>
            <a:rPr lang="de-DE" sz="400" kern="1200" dirty="0" err="1"/>
            <a:t>reported</a:t>
          </a:r>
          <a:endParaRPr lang="en-US" sz="400" kern="1200" dirty="0"/>
        </a:p>
      </dsp:txBody>
      <dsp:txXfrm>
        <a:off x="2486721" y="324882"/>
        <a:ext cx="705737" cy="470490"/>
      </dsp:txXfrm>
    </dsp:sp>
    <dsp:sp modelId="{033985E6-5141-4244-8446-F5E7A99A21F5}">
      <dsp:nvSpPr>
        <dsp:cNvPr id="0" name=""/>
        <dsp:cNvSpPr/>
      </dsp:nvSpPr>
      <dsp:spPr>
        <a:xfrm>
          <a:off x="3263031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Origin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ISTAR DAQ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formats</a:t>
          </a:r>
          <a:r>
            <a:rPr lang="de-DE" sz="400" kern="1200" dirty="0"/>
            <a:t>/</a:t>
          </a:r>
          <a:r>
            <a:rPr lang="de-DE" sz="400" kern="1200" dirty="0" err="1"/>
            <a:t>sources</a:t>
          </a:r>
          <a:endParaRPr lang="en-US" sz="400" kern="1200" dirty="0"/>
        </a:p>
      </dsp:txBody>
      <dsp:txXfrm>
        <a:off x="3498276" y="324882"/>
        <a:ext cx="705737" cy="470490"/>
      </dsp:txXfrm>
    </dsp:sp>
    <dsp:sp modelId="{97363E8B-2CC9-40F8-81D2-82C1783BFD27}">
      <dsp:nvSpPr>
        <dsp:cNvPr id="0" name=""/>
        <dsp:cNvSpPr/>
      </dsp:nvSpPr>
      <dsp:spPr>
        <a:xfrm>
          <a:off x="4274587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roposal</a:t>
          </a:r>
          <a:r>
            <a:rPr lang="de-DE" sz="400" kern="1200" dirty="0"/>
            <a:t> SH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Detect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and report </a:t>
          </a:r>
          <a:r>
            <a:rPr lang="de-DE" sz="400" kern="1200" dirty="0" err="1"/>
            <a:t>them</a:t>
          </a:r>
          <a:endParaRPr lang="en-US" sz="400" kern="1200" dirty="0"/>
        </a:p>
      </dsp:txBody>
      <dsp:txXfrm>
        <a:off x="4509832" y="324882"/>
        <a:ext cx="705737" cy="470490"/>
      </dsp:txXfrm>
    </dsp:sp>
    <dsp:sp modelId="{124996E3-18A0-40C5-A8C3-F871998D91BE}">
      <dsp:nvSpPr>
        <dsp:cNvPr id="0" name=""/>
        <dsp:cNvSpPr/>
      </dsp:nvSpPr>
      <dsp:spPr>
        <a:xfrm>
          <a:off x="5286142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Contex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Holistic</a:t>
          </a:r>
          <a:r>
            <a:rPr lang="de-DE" sz="400" kern="1200" dirty="0"/>
            <a:t> </a:t>
          </a:r>
          <a:r>
            <a:rPr lang="de-DE" sz="400" kern="1200" dirty="0" err="1"/>
            <a:t>system</a:t>
          </a:r>
          <a:r>
            <a:rPr lang="de-DE" sz="400" kern="1200" dirty="0"/>
            <a:t> </a:t>
          </a:r>
          <a:r>
            <a:rPr lang="de-DE" sz="400" kern="1200" dirty="0" err="1"/>
            <a:t>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HM </a:t>
          </a:r>
          <a:r>
            <a:rPr lang="de-DE" sz="400" kern="1200" dirty="0" err="1"/>
            <a:t>as</a:t>
          </a:r>
          <a:r>
            <a:rPr lang="de-DE" sz="400" kern="1200" dirty="0"/>
            <a:t> </a:t>
          </a:r>
          <a:r>
            <a:rPr lang="de-DE" sz="400" kern="1200" dirty="0" err="1"/>
            <a:t>part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an </a:t>
          </a:r>
          <a:r>
            <a:rPr lang="de-DE" sz="400" kern="1200" dirty="0" err="1"/>
            <a:t>ecosyste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lug and </a:t>
          </a:r>
          <a:r>
            <a:rPr lang="de-DE" sz="400" kern="1200" dirty="0" err="1"/>
            <a:t>play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ingle</a:t>
          </a:r>
          <a:r>
            <a:rPr lang="de-DE" sz="400" kern="1200" dirty="0"/>
            <a:t> </a:t>
          </a:r>
          <a:r>
            <a:rPr lang="de-DE" sz="400" kern="1200" dirty="0" err="1"/>
            <a:t>componen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nteroperability</a:t>
          </a:r>
          <a:endParaRPr lang="en-US" sz="400" kern="1200" dirty="0"/>
        </a:p>
      </dsp:txBody>
      <dsp:txXfrm>
        <a:off x="5521387" y="324882"/>
        <a:ext cx="705737" cy="470490"/>
      </dsp:txXfrm>
    </dsp:sp>
    <dsp:sp modelId="{84C1BC01-2D36-4A34-9AC3-243DC19273DA}">
      <dsp:nvSpPr>
        <dsp:cNvPr id="0" name=""/>
        <dsp:cNvSpPr/>
      </dsp:nvSpPr>
      <dsp:spPr>
        <a:xfrm>
          <a:off x="7007" y="92291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2 (Stand Technik, Theorie)</a:t>
          </a:r>
          <a:endParaRPr lang="en-US" sz="500" kern="1200" dirty="0"/>
        </a:p>
      </dsp:txBody>
      <dsp:txXfrm>
        <a:off x="290435" y="922915"/>
        <a:ext cx="850285" cy="566856"/>
      </dsp:txXfrm>
    </dsp:sp>
    <dsp:sp modelId="{5913A9EE-446A-4A75-BE28-16DB8E1205FF}">
      <dsp:nvSpPr>
        <dsp:cNvPr id="0" name=""/>
        <dsp:cNvSpPr/>
      </dsp:nvSpPr>
      <dsp:spPr>
        <a:xfrm>
          <a:off x="1239920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is</a:t>
          </a:r>
          <a:r>
            <a:rPr lang="de-DE" sz="500" kern="1200" dirty="0"/>
            <a:t> SHM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mfa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nforderungen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Notwendig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on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[….]</a:t>
          </a:r>
          <a:endParaRPr lang="en-US" sz="400" kern="1200" dirty="0"/>
        </a:p>
      </dsp:txBody>
      <dsp:txXfrm>
        <a:off x="1475165" y="971098"/>
        <a:ext cx="705737" cy="470490"/>
      </dsp:txXfrm>
    </dsp:sp>
    <dsp:sp modelId="{27099A77-E2FB-438B-83D9-F2B501EC6DE9}">
      <dsp:nvSpPr>
        <dsp:cNvPr id="0" name=""/>
        <dsp:cNvSpPr/>
      </dsp:nvSpPr>
      <dsp:spPr>
        <a:xfrm>
          <a:off x="2251476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er hat sowas schonmal gemach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sermann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P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2486721" y="971098"/>
        <a:ext cx="705737" cy="470490"/>
      </dsp:txXfrm>
    </dsp:sp>
    <dsp:sp modelId="{2A1098A4-3513-4B7B-BD95-A66078137AE3}">
      <dsp:nvSpPr>
        <dsp:cNvPr id="0" name=""/>
        <dsp:cNvSpPr/>
      </dsp:nvSpPr>
      <dsp:spPr>
        <a:xfrm>
          <a:off x="3263031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did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do </a:t>
          </a:r>
          <a:r>
            <a:rPr lang="de-DE" sz="500" kern="1200" dirty="0" err="1"/>
            <a:t>i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</dsp:txBody>
      <dsp:txXfrm>
        <a:off x="3498276" y="971098"/>
        <a:ext cx="705737" cy="470490"/>
      </dsp:txXfrm>
    </dsp:sp>
    <dsp:sp modelId="{6E769E55-F845-496F-AAE9-AEB37C279700}">
      <dsp:nvSpPr>
        <dsp:cNvPr id="0" name=""/>
        <dsp:cNvSpPr/>
      </dsp:nvSpPr>
      <dsp:spPr>
        <a:xfrm>
          <a:off x="4274587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have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</a:t>
          </a:r>
          <a:r>
            <a:rPr lang="de-DE" sz="500" kern="1200" dirty="0" err="1"/>
            <a:t>structured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/</a:t>
          </a:r>
          <a:r>
            <a:rPr lang="de-DE" sz="500" kern="1200" dirty="0" err="1"/>
            <a:t>How</a:t>
          </a:r>
          <a:r>
            <a:rPr lang="de-DE" sz="500" kern="1200" dirty="0"/>
            <a:t> do </a:t>
          </a:r>
          <a:r>
            <a:rPr lang="de-DE" sz="500" kern="1200" dirty="0" err="1"/>
            <a:t>you</a:t>
          </a:r>
          <a:r>
            <a:rPr lang="de-DE" sz="500" kern="1200" dirty="0"/>
            <a:t> </a:t>
          </a:r>
          <a:r>
            <a:rPr lang="de-DE" sz="500" kern="1200" dirty="0" err="1"/>
            <a:t>ideally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 (</a:t>
          </a:r>
          <a:r>
            <a:rPr lang="de-DE" sz="500" kern="1200" dirty="0" err="1"/>
            <a:t>data</a:t>
          </a:r>
          <a:r>
            <a:rPr lang="de-DE" sz="500" kern="1200" dirty="0"/>
            <a:t> Handling)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AIR (tief eingehen)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Beispiel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OI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kystas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male </a:t>
          </a:r>
          <a:r>
            <a:rPr lang="de-DE" sz="400" kern="1200" dirty="0" err="1"/>
            <a:t>datenstruktur</a:t>
          </a:r>
          <a:endParaRPr lang="en-US" sz="400" kern="1200" dirty="0"/>
        </a:p>
      </dsp:txBody>
      <dsp:txXfrm>
        <a:off x="4509832" y="971098"/>
        <a:ext cx="705737" cy="470490"/>
      </dsp:txXfrm>
    </dsp:sp>
    <dsp:sp modelId="{D8F53325-EF29-4B74-924F-477EBC447ED4}">
      <dsp:nvSpPr>
        <dsp:cNvPr id="0" name=""/>
        <dsp:cNvSpPr/>
      </dsp:nvSpPr>
      <dsp:spPr>
        <a:xfrm>
          <a:off x="5286142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macht man dann sowas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F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PI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 (RAIMS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höhe</a:t>
          </a:r>
          <a:endParaRPr lang="en-US" sz="400" kern="1200" dirty="0"/>
        </a:p>
      </dsp:txBody>
      <dsp:txXfrm>
        <a:off x="5521387" y="971098"/>
        <a:ext cx="705737" cy="470490"/>
      </dsp:txXfrm>
    </dsp:sp>
    <dsp:sp modelId="{2C06F546-EA30-436F-8D4A-E4407A3829E9}">
      <dsp:nvSpPr>
        <dsp:cNvPr id="0" name=""/>
        <dsp:cNvSpPr/>
      </dsp:nvSpPr>
      <dsp:spPr>
        <a:xfrm>
          <a:off x="6297698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funktionieren die einzelnen Komponenten im Detail</a:t>
          </a:r>
          <a:endParaRPr lang="en-US" sz="500" kern="1200" dirty="0"/>
        </a:p>
      </dsp:txBody>
      <dsp:txXfrm>
        <a:off x="6532943" y="971098"/>
        <a:ext cx="705737" cy="470490"/>
      </dsp:txXfrm>
    </dsp:sp>
    <dsp:sp modelId="{3D2C3AB3-0DCD-4465-B025-265BBB0F4EE7}">
      <dsp:nvSpPr>
        <dsp:cNvPr id="0" name=""/>
        <dsp:cNvSpPr/>
      </dsp:nvSpPr>
      <dsp:spPr>
        <a:xfrm>
          <a:off x="7309253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leitet man es her?</a:t>
          </a:r>
          <a:endParaRPr lang="en-US" sz="500" kern="1200" dirty="0"/>
        </a:p>
      </dsp:txBody>
      <dsp:txXfrm>
        <a:off x="7544498" y="971098"/>
        <a:ext cx="705737" cy="470490"/>
      </dsp:txXfrm>
    </dsp:sp>
    <dsp:sp modelId="{C4BF724B-1935-4AD6-A16F-61AE5AC647F5}">
      <dsp:nvSpPr>
        <dsp:cNvPr id="0" name=""/>
        <dsp:cNvSpPr/>
      </dsp:nvSpPr>
      <dsp:spPr>
        <a:xfrm>
          <a:off x="7007" y="1569132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3 (Problem </a:t>
          </a:r>
          <a:r>
            <a:rPr lang="de-DE" sz="500" kern="1200" dirty="0" err="1"/>
            <a:t>statement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1569132"/>
        <a:ext cx="850285" cy="566856"/>
      </dsp:txXfrm>
    </dsp:sp>
    <dsp:sp modelId="{F19BB8E2-2133-4AF9-9893-EA0FB5E95A69}">
      <dsp:nvSpPr>
        <dsp:cNvPr id="0" name=""/>
        <dsp:cNvSpPr/>
      </dsp:nvSpPr>
      <dsp:spPr>
        <a:xfrm>
          <a:off x="1239920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recise</a:t>
          </a:r>
          <a:r>
            <a:rPr lang="de-DE" sz="500" kern="1200" dirty="0"/>
            <a:t> </a:t>
          </a:r>
          <a:r>
            <a:rPr lang="de-DE" sz="500" kern="1200" dirty="0" err="1"/>
            <a:t>detection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</a:t>
          </a:r>
          <a:r>
            <a:rPr lang="de-DE" sz="500" kern="1200" dirty="0" err="1"/>
            <a:t>malfunctions</a:t>
          </a:r>
          <a:r>
            <a:rPr lang="de-DE" sz="500" kern="1200" dirty="0"/>
            <a:t> and </a:t>
          </a:r>
          <a:r>
            <a:rPr lang="de-DE" sz="500" kern="1200" dirty="0" err="1"/>
            <a:t>perturbances</a:t>
          </a:r>
          <a:endParaRPr lang="en-US" sz="500" kern="1200" dirty="0"/>
        </a:p>
      </dsp:txBody>
      <dsp:txXfrm>
        <a:off x="1475165" y="1617315"/>
        <a:ext cx="705737" cy="470490"/>
      </dsp:txXfrm>
    </dsp:sp>
    <dsp:sp modelId="{9151B729-DB53-4F4F-B00A-CB5DD96882BF}">
      <dsp:nvSpPr>
        <dsp:cNvPr id="0" name=""/>
        <dsp:cNvSpPr/>
      </dsp:nvSpPr>
      <dsp:spPr>
        <a:xfrm>
          <a:off x="2251476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Reporting </a:t>
          </a:r>
          <a:r>
            <a:rPr lang="de-DE" sz="500" kern="1200" dirty="0" err="1"/>
            <a:t>tool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displays</a:t>
          </a:r>
          <a:r>
            <a:rPr lang="de-DE" sz="500" kern="1200" dirty="0"/>
            <a:t> relevant </a:t>
          </a:r>
          <a:r>
            <a:rPr lang="de-DE" sz="500" kern="1200" dirty="0" err="1"/>
            <a:t>info</a:t>
          </a:r>
          <a:r>
            <a:rPr lang="de-DE" sz="500" kern="1200" dirty="0"/>
            <a:t> and </a:t>
          </a:r>
          <a:r>
            <a:rPr lang="de-DE" sz="500" kern="1200" dirty="0" err="1"/>
            <a:t>generates</a:t>
          </a:r>
          <a:r>
            <a:rPr lang="de-DE" sz="500" kern="1200" dirty="0"/>
            <a:t> </a:t>
          </a:r>
          <a:r>
            <a:rPr lang="de-DE" sz="500" kern="1200" dirty="0" err="1"/>
            <a:t>metrics</a:t>
          </a:r>
          <a:endParaRPr lang="en-US" sz="500" kern="1200" dirty="0"/>
        </a:p>
      </dsp:txBody>
      <dsp:txXfrm>
        <a:off x="2486721" y="1617315"/>
        <a:ext cx="705737" cy="470490"/>
      </dsp:txXfrm>
    </dsp:sp>
    <dsp:sp modelId="{88F8DB6A-BAC0-4205-AF9B-AC35A6DB9946}">
      <dsp:nvSpPr>
        <dsp:cNvPr id="0" name=""/>
        <dsp:cNvSpPr/>
      </dsp:nvSpPr>
      <dsp:spPr>
        <a:xfrm>
          <a:off x="3263031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ug and </a:t>
          </a:r>
          <a:r>
            <a:rPr lang="de-DE" sz="500" kern="1200" dirty="0" err="1"/>
            <a:t>play</a:t>
          </a:r>
          <a:r>
            <a:rPr lang="de-DE" sz="500" kern="1200" dirty="0"/>
            <a:t> </a:t>
          </a:r>
          <a:r>
            <a:rPr lang="de-DE" sz="500" kern="1200" dirty="0" err="1"/>
            <a:t>philosophy</a:t>
          </a:r>
          <a:endParaRPr lang="en-US" sz="500" kern="1200" dirty="0"/>
        </a:p>
      </dsp:txBody>
      <dsp:txXfrm>
        <a:off x="3498276" y="1617315"/>
        <a:ext cx="705737" cy="470490"/>
      </dsp:txXfrm>
    </dsp:sp>
    <dsp:sp modelId="{1DC25E45-1799-4F8B-887C-1FCDF2F1E4B5}">
      <dsp:nvSpPr>
        <dsp:cNvPr id="0" name=""/>
        <dsp:cNvSpPr/>
      </dsp:nvSpPr>
      <dsp:spPr>
        <a:xfrm>
          <a:off x="7007" y="2215348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4 (Methoden/Implementierung)</a:t>
          </a:r>
          <a:endParaRPr lang="en-US" sz="500" kern="1200" dirty="0"/>
        </a:p>
      </dsp:txBody>
      <dsp:txXfrm>
        <a:off x="290435" y="2215348"/>
        <a:ext cx="850285" cy="566856"/>
      </dsp:txXfrm>
    </dsp:sp>
    <dsp:sp modelId="{D83E37D7-E8DD-4FC8-B491-40C6AA512C59}">
      <dsp:nvSpPr>
        <dsp:cNvPr id="0" name=""/>
        <dsp:cNvSpPr/>
      </dsp:nvSpPr>
      <dsp:spPr>
        <a:xfrm>
          <a:off x="1239920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</a:t>
          </a:r>
          <a:r>
            <a:rPr lang="de-DE" sz="500" kern="1200" dirty="0" err="1"/>
            <a:t>Metadata</a:t>
          </a:r>
          <a:r>
            <a:rPr lang="de-DE" sz="500" kern="1200" dirty="0"/>
            <a:t> Collection, </a:t>
          </a:r>
          <a:r>
            <a:rPr lang="de-DE" sz="500" kern="1200" dirty="0" err="1"/>
            <a:t>formatting</a:t>
          </a:r>
          <a:r>
            <a:rPr lang="de-DE" sz="500" kern="1200" dirty="0"/>
            <a:t> </a:t>
          </a:r>
          <a:r>
            <a:rPr lang="de-DE" sz="500" kern="1200" dirty="0" err="1"/>
            <a:t>into</a:t>
          </a:r>
          <a:r>
            <a:rPr lang="de-DE" sz="500" kern="1200" dirty="0"/>
            <a:t> SOIL </a:t>
          </a:r>
          <a:endParaRPr lang="en-US" sz="500" kern="1200" dirty="0"/>
        </a:p>
      </dsp:txBody>
      <dsp:txXfrm>
        <a:off x="1475165" y="2263531"/>
        <a:ext cx="705737" cy="470490"/>
      </dsp:txXfrm>
    </dsp:sp>
    <dsp:sp modelId="{00B3F7D8-6565-4D22-949D-BF8502682C48}">
      <dsp:nvSpPr>
        <dsp:cNvPr id="0" name=""/>
        <dsp:cNvSpPr/>
      </dsp:nvSpPr>
      <dsp:spPr>
        <a:xfrm>
          <a:off x="2251476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Data</a:t>
          </a:r>
          <a:endParaRPr lang="en-US" sz="500" kern="1200" dirty="0"/>
        </a:p>
      </dsp:txBody>
      <dsp:txXfrm>
        <a:off x="2486721" y="2263531"/>
        <a:ext cx="705737" cy="470490"/>
      </dsp:txXfrm>
    </dsp:sp>
    <dsp:sp modelId="{A99EBA47-DCD0-4C3C-B14C-8C6E6B58820A}">
      <dsp:nvSpPr>
        <dsp:cNvPr id="0" name=""/>
        <dsp:cNvSpPr/>
      </dsp:nvSpPr>
      <dsp:spPr>
        <a:xfrm>
          <a:off x="3263031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and </a:t>
          </a:r>
          <a:r>
            <a:rPr lang="de-DE" sz="500" kern="1200" dirty="0" err="1"/>
            <a:t>assignment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</a:t>
          </a:r>
          <a:r>
            <a:rPr lang="de-DE" sz="500" kern="1200" dirty="0" err="1"/>
            <a:t>data</a:t>
          </a:r>
          <a:r>
            <a:rPr lang="de-DE" sz="500" kern="1200" dirty="0"/>
            <a:t> </a:t>
          </a:r>
          <a:r>
            <a:rPr lang="de-DE" sz="500" kern="1200" dirty="0" err="1"/>
            <a:t>config</a:t>
          </a:r>
          <a:endParaRPr lang="en-US" sz="500" kern="1200" dirty="0"/>
        </a:p>
      </dsp:txBody>
      <dsp:txXfrm>
        <a:off x="3498276" y="2263531"/>
        <a:ext cx="705737" cy="470490"/>
      </dsp:txXfrm>
    </dsp:sp>
    <dsp:sp modelId="{6E4A71A1-6835-4BF5-B851-CC10F4365704}">
      <dsp:nvSpPr>
        <dsp:cNvPr id="0" name=""/>
        <dsp:cNvSpPr/>
      </dsp:nvSpPr>
      <dsp:spPr>
        <a:xfrm>
          <a:off x="4274587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1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ll Parameters </a:t>
          </a:r>
          <a:r>
            <a:rPr lang="de-DE" sz="400" kern="1200" dirty="0" err="1"/>
            <a:t>present</a:t>
          </a:r>
          <a:r>
            <a:rPr lang="de-DE" sz="400" kern="1200" dirty="0"/>
            <a:t>?</a:t>
          </a:r>
          <a:endParaRPr lang="en-US" sz="400" kern="1200" dirty="0"/>
        </a:p>
      </dsp:txBody>
      <dsp:txXfrm>
        <a:off x="4509832" y="2263531"/>
        <a:ext cx="705737" cy="470490"/>
      </dsp:txXfrm>
    </dsp:sp>
    <dsp:sp modelId="{A4AB4759-E8C6-49A0-A564-966AB7A18535}">
      <dsp:nvSpPr>
        <dsp:cNvPr id="0" name=""/>
        <dsp:cNvSpPr/>
      </dsp:nvSpPr>
      <dsp:spPr>
        <a:xfrm>
          <a:off x="5286142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2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No</a:t>
          </a:r>
          <a:r>
            <a:rPr lang="de-DE" sz="400" kern="1200" dirty="0"/>
            <a:t> </a:t>
          </a:r>
          <a:r>
            <a:rPr lang="de-DE" sz="400" kern="1200" dirty="0" err="1"/>
            <a:t>signal</a:t>
          </a:r>
          <a:r>
            <a:rPr lang="de-DE" sz="400" kern="1200" dirty="0"/>
            <a:t> (</a:t>
          </a:r>
          <a:r>
            <a:rPr lang="de-DE" sz="400" kern="1200" dirty="0" err="1"/>
            <a:t>value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ut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rang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hig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</a:t>
          </a:r>
          <a:r>
            <a:rPr lang="de-DE" sz="400" kern="1200" dirty="0" err="1"/>
            <a:t>lo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5521387" y="2263531"/>
        <a:ext cx="705737" cy="470490"/>
      </dsp:txXfrm>
    </dsp:sp>
    <dsp:sp modelId="{31E649D0-43E7-4884-9A60-1A15855F39BA}">
      <dsp:nvSpPr>
        <dsp:cNvPr id="0" name=""/>
        <dsp:cNvSpPr/>
      </dsp:nvSpPr>
      <dsp:spPr>
        <a:xfrm>
          <a:off x="6297698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3 Implementation: 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hysic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</a:t>
          </a:r>
          <a:endParaRPr lang="en-US" sz="400" kern="1200" dirty="0"/>
        </a:p>
      </dsp:txBody>
      <dsp:txXfrm>
        <a:off x="6532943" y="2263531"/>
        <a:ext cx="705737" cy="470490"/>
      </dsp:txXfrm>
    </dsp:sp>
    <dsp:sp modelId="{5CB538A3-C5E2-491F-B986-B059DC4B43E3}">
      <dsp:nvSpPr>
        <dsp:cNvPr id="0" name=""/>
        <dsp:cNvSpPr/>
      </dsp:nvSpPr>
      <dsp:spPr>
        <a:xfrm>
          <a:off x="7309253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Report </a:t>
          </a:r>
          <a:r>
            <a:rPr lang="de-DE" sz="500" kern="1200" dirty="0" err="1"/>
            <a:t>structure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1: </a:t>
          </a:r>
          <a:r>
            <a:rPr lang="de-DE" sz="400" kern="1200" dirty="0" err="1"/>
            <a:t>lis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2: notable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whole </a:t>
          </a:r>
          <a:r>
            <a:rPr lang="de-DE" sz="400" kern="1200" dirty="0" err="1"/>
            <a:t>flight</a:t>
          </a:r>
          <a:r>
            <a:rPr lang="de-DE" sz="400" kern="1200" dirty="0"/>
            <a:t>: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Single </a:t>
          </a:r>
          <a:r>
            <a:rPr lang="de-DE" sz="400" kern="1200" dirty="0" err="1"/>
            <a:t>sensor</a:t>
          </a:r>
          <a:r>
            <a:rPr lang="de-DE" sz="400" kern="1200" dirty="0"/>
            <a:t>: </a:t>
          </a:r>
          <a:r>
            <a:rPr lang="de-DE" sz="400" kern="1200" dirty="0" err="1"/>
            <a:t>mean</a:t>
          </a:r>
          <a:r>
            <a:rPr lang="de-DE" sz="400" kern="1200" dirty="0"/>
            <a:t> </a:t>
          </a:r>
          <a:r>
            <a:rPr lang="de-DE" sz="400" kern="1200" dirty="0" err="1"/>
            <a:t>value</a:t>
          </a:r>
          <a:r>
            <a:rPr lang="de-DE" sz="400" kern="1200" dirty="0"/>
            <a:t>, residual, </a:t>
          </a:r>
          <a:r>
            <a:rPr lang="de-DE" sz="400" kern="1200" dirty="0" err="1"/>
            <a:t>stdev</a:t>
          </a:r>
          <a:endParaRPr lang="en-US" sz="400" kern="1200" dirty="0"/>
        </a:p>
      </dsp:txBody>
      <dsp:txXfrm>
        <a:off x="7544498" y="2263531"/>
        <a:ext cx="705737" cy="470490"/>
      </dsp:txXfrm>
    </dsp:sp>
    <dsp:sp modelId="{E6221567-4E16-48A1-9CDA-179AED124105}">
      <dsp:nvSpPr>
        <dsp:cNvPr id="0" name=""/>
        <dsp:cNvSpPr/>
      </dsp:nvSpPr>
      <dsp:spPr>
        <a:xfrm>
          <a:off x="8320809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ownload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Local</a:t>
          </a:r>
          <a:r>
            <a:rPr lang="de-DE" sz="400" kern="1200" dirty="0"/>
            <a:t> </a:t>
          </a:r>
          <a:r>
            <a:rPr lang="de-DE" sz="400" kern="1200" dirty="0" err="1"/>
            <a:t>checki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pload </a:t>
          </a:r>
          <a:r>
            <a:rPr lang="de-DE" sz="400" kern="1200" dirty="0" err="1"/>
            <a:t>of</a:t>
          </a:r>
          <a:r>
            <a:rPr lang="de-DE" sz="400" kern="1200" dirty="0"/>
            <a:t> JSON </a:t>
          </a:r>
          <a:r>
            <a:rPr lang="de-DE" sz="400" kern="1200" dirty="0" err="1"/>
            <a:t>to</a:t>
          </a:r>
          <a:r>
            <a:rPr lang="de-DE" sz="400" kern="1200" dirty="0"/>
            <a:t> </a:t>
          </a:r>
          <a:r>
            <a:rPr lang="de-DE" sz="400" kern="1200" dirty="0" err="1"/>
            <a:t>stash</a:t>
          </a:r>
          <a:endParaRPr lang="en-US" sz="400" kern="1200" dirty="0"/>
        </a:p>
      </dsp:txBody>
      <dsp:txXfrm>
        <a:off x="8556054" y="2263531"/>
        <a:ext cx="705737" cy="470490"/>
      </dsp:txXfrm>
    </dsp:sp>
    <dsp:sp modelId="{0698A4C8-E648-44FD-B978-F618BEA7BF67}">
      <dsp:nvSpPr>
        <dsp:cNvPr id="0" name=""/>
        <dsp:cNvSpPr/>
      </dsp:nvSpPr>
      <dsp:spPr>
        <a:xfrm>
          <a:off x="9332364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nalysis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</a:t>
          </a:r>
          <a:r>
            <a:rPr lang="de-DE" sz="400" kern="1200" dirty="0" err="1"/>
            <a:t>for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Adapt</a:t>
          </a:r>
          <a:r>
            <a:rPr lang="de-DE" sz="400" kern="1200" dirty="0"/>
            <a:t> </a:t>
          </a:r>
          <a:r>
            <a:rPr lang="de-DE" sz="400" kern="1200" dirty="0" err="1"/>
            <a:t>sensitivity</a:t>
          </a:r>
          <a:r>
            <a:rPr lang="de-DE" sz="400" kern="1200" dirty="0"/>
            <a:t> and </a:t>
          </a:r>
          <a:r>
            <a:rPr lang="de-DE" sz="400" kern="1200" dirty="0" err="1"/>
            <a:t>algorithms</a:t>
          </a:r>
          <a:r>
            <a:rPr lang="de-DE" sz="400" kern="1200" dirty="0"/>
            <a:t> (</a:t>
          </a:r>
          <a:r>
            <a:rPr lang="de-DE" sz="400" kern="1200" dirty="0" err="1"/>
            <a:t>balance</a:t>
          </a:r>
          <a:r>
            <a:rPr lang="de-DE" sz="400" kern="1200" dirty="0"/>
            <a:t> </a:t>
          </a:r>
          <a:r>
            <a:rPr lang="de-DE" sz="400" kern="1200" dirty="0" err="1"/>
            <a:t>false</a:t>
          </a:r>
          <a:r>
            <a:rPr lang="de-DE" sz="400" kern="1200" dirty="0"/>
            <a:t> positives)</a:t>
          </a:r>
          <a:endParaRPr lang="en-US" sz="400" kern="1200" dirty="0"/>
        </a:p>
      </dsp:txBody>
      <dsp:txXfrm>
        <a:off x="9567609" y="2263531"/>
        <a:ext cx="705737" cy="470490"/>
      </dsp:txXfrm>
    </dsp:sp>
    <dsp:sp modelId="{D940DDA1-996D-49EE-A809-F3A9B06C3F06}">
      <dsp:nvSpPr>
        <dsp:cNvPr id="0" name=""/>
        <dsp:cNvSpPr/>
      </dsp:nvSpPr>
      <dsp:spPr>
        <a:xfrm>
          <a:off x="7007" y="286156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5 (</a:t>
          </a:r>
          <a:r>
            <a:rPr lang="de-DE" sz="500" kern="1200" dirty="0" err="1"/>
            <a:t>Results</a:t>
          </a:r>
          <a:r>
            <a:rPr lang="de-DE" sz="500" kern="1200" dirty="0"/>
            <a:t> and </a:t>
          </a:r>
          <a:r>
            <a:rPr lang="de-DE" sz="500" kern="1200" dirty="0" err="1"/>
            <a:t>Discussion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2861565"/>
        <a:ext cx="850285" cy="566856"/>
      </dsp:txXfrm>
    </dsp:sp>
    <dsp:sp modelId="{FDC27003-E859-4A44-9A35-15C12E93CD52}">
      <dsp:nvSpPr>
        <dsp:cNvPr id="0" name=""/>
        <dsp:cNvSpPr/>
      </dsp:nvSpPr>
      <dsp:spPr>
        <a:xfrm>
          <a:off x="1239920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Metadata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(</a:t>
          </a:r>
          <a:r>
            <a:rPr lang="de-DE" sz="500" kern="1200" dirty="0" err="1"/>
            <a:t>filled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1475165" y="2909748"/>
        <a:ext cx="705737" cy="470490"/>
      </dsp:txXfrm>
    </dsp:sp>
    <dsp:sp modelId="{EAA8E325-C720-45F2-AE8A-9C1634D2678E}">
      <dsp:nvSpPr>
        <dsp:cNvPr id="0" name=""/>
        <dsp:cNvSpPr/>
      </dsp:nvSpPr>
      <dsp:spPr>
        <a:xfrm>
          <a:off x="2251476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testing</a:t>
          </a:r>
          <a:r>
            <a:rPr lang="de-DE" sz="500" kern="1200" dirty="0"/>
            <a:t> 1,2,3 (</a:t>
          </a:r>
          <a:r>
            <a:rPr lang="de-DE" sz="500" kern="1200" dirty="0" err="1"/>
            <a:t>test</a:t>
          </a:r>
          <a:r>
            <a:rPr lang="de-DE" sz="500" kern="1200" dirty="0"/>
            <a:t> </a:t>
          </a:r>
          <a:r>
            <a:rPr lang="de-DE" sz="500" kern="1200" dirty="0" err="1"/>
            <a:t>with</a:t>
          </a:r>
          <a:r>
            <a:rPr lang="de-DE" sz="500" kern="1200" dirty="0"/>
            <a:t> real </a:t>
          </a:r>
          <a:r>
            <a:rPr lang="de-DE" sz="500" kern="1200" dirty="0" err="1"/>
            <a:t>data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486721" y="2909748"/>
        <a:ext cx="705737" cy="470490"/>
      </dsp:txXfrm>
    </dsp:sp>
    <dsp:sp modelId="{C2C8C981-CBE7-44A9-8233-ECFC3222A3E7}">
      <dsp:nvSpPr>
        <dsp:cNvPr id="0" name=""/>
        <dsp:cNvSpPr/>
      </dsp:nvSpPr>
      <dsp:spPr>
        <a:xfrm>
          <a:off x="3263031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ots and </a:t>
          </a:r>
          <a:r>
            <a:rPr lang="de-DE" sz="500" kern="1200" dirty="0" err="1"/>
            <a:t>comparisons</a:t>
          </a:r>
          <a:endParaRPr lang="en-US" sz="500" kern="1200" dirty="0"/>
        </a:p>
      </dsp:txBody>
      <dsp:txXfrm>
        <a:off x="3498276" y="2909748"/>
        <a:ext cx="705737" cy="470490"/>
      </dsp:txXfrm>
    </dsp:sp>
    <dsp:sp modelId="{2BD73D85-B022-4EA6-B1B0-3C5278273746}">
      <dsp:nvSpPr>
        <dsp:cNvPr id="0" name=""/>
        <dsp:cNvSpPr/>
      </dsp:nvSpPr>
      <dsp:spPr>
        <a:xfrm>
          <a:off x="4274587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with</a:t>
          </a:r>
          <a:r>
            <a:rPr lang="de-DE" sz="500" kern="1200" dirty="0"/>
            <a:t> </a:t>
          </a:r>
          <a:r>
            <a:rPr lang="de-DE" sz="500" kern="1200" dirty="0" err="1"/>
            <a:t>faulty</a:t>
          </a:r>
          <a:r>
            <a:rPr lang="de-DE" sz="500" kern="1200" dirty="0"/>
            <a:t> </a:t>
          </a:r>
          <a:r>
            <a:rPr lang="de-DE" sz="500" kern="1200" dirty="0" err="1"/>
            <a:t>data</a:t>
          </a:r>
          <a:endParaRPr lang="en-US" sz="500" kern="1200" dirty="0"/>
        </a:p>
      </dsp:txBody>
      <dsp:txXfrm>
        <a:off x="4509832" y="2909748"/>
        <a:ext cx="705737" cy="470490"/>
      </dsp:txXfrm>
    </dsp:sp>
    <dsp:sp modelId="{874395BE-040C-4706-B13E-3A6D4A6A57CF}">
      <dsp:nvSpPr>
        <dsp:cNvPr id="0" name=""/>
        <dsp:cNvSpPr/>
      </dsp:nvSpPr>
      <dsp:spPr>
        <a:xfrm>
          <a:off x="5286142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RE RESULTS GOOD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mparison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reviously</a:t>
          </a:r>
          <a:r>
            <a:rPr lang="de-DE" sz="400" kern="1200" dirty="0"/>
            <a:t> </a:t>
          </a:r>
          <a:r>
            <a:rPr lang="de-DE" sz="400" kern="1200" dirty="0" err="1"/>
            <a:t>developed</a:t>
          </a:r>
          <a:r>
            <a:rPr lang="de-DE" sz="400" kern="1200" dirty="0"/>
            <a:t> FMEA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Rate check </a:t>
          </a:r>
          <a:r>
            <a:rPr lang="de-DE" sz="400" kern="1200" dirty="0" err="1"/>
            <a:t>quality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arameters</a:t>
          </a:r>
          <a:endParaRPr lang="en-US" sz="400" kern="1200" dirty="0"/>
        </a:p>
      </dsp:txBody>
      <dsp:txXfrm>
        <a:off x="5521387" y="2909748"/>
        <a:ext cx="705737" cy="470490"/>
      </dsp:txXfrm>
    </dsp:sp>
    <dsp:sp modelId="{85D7B7D3-83F5-4C9A-8D00-3A8450F954C1}">
      <dsp:nvSpPr>
        <dsp:cNvPr id="0" name=""/>
        <dsp:cNvSpPr/>
      </dsp:nvSpPr>
      <dsp:spPr>
        <a:xfrm>
          <a:off x="6297698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</a:t>
          </a:r>
          <a:r>
            <a:rPr lang="de-DE" sz="500" kern="1200" dirty="0" err="1"/>
            <a:t>ecosystem</a:t>
          </a:r>
          <a:endParaRPr lang="en-US" sz="500" kern="1200" dirty="0"/>
        </a:p>
      </dsp:txBody>
      <dsp:txXfrm>
        <a:off x="6532943" y="2909748"/>
        <a:ext cx="705737" cy="470490"/>
      </dsp:txXfrm>
    </dsp:sp>
    <dsp:sp modelId="{E69D14FB-5309-47A4-99A0-AD5CA610ACAB}">
      <dsp:nvSpPr>
        <dsp:cNvPr id="0" name=""/>
        <dsp:cNvSpPr/>
      </dsp:nvSpPr>
      <dsp:spPr>
        <a:xfrm>
          <a:off x="7309253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Toolchain</a:t>
          </a:r>
          <a:r>
            <a:rPr lang="de-DE" sz="500" kern="1200" dirty="0"/>
            <a:t> FTI-tool</a:t>
          </a:r>
          <a:endParaRPr lang="en-US" sz="500" kern="1200" dirty="0"/>
        </a:p>
      </dsp:txBody>
      <dsp:txXfrm>
        <a:off x="7544498" y="2909748"/>
        <a:ext cx="705737" cy="470490"/>
      </dsp:txXfrm>
    </dsp:sp>
    <dsp:sp modelId="{8985DF1B-D650-4F7B-B27C-F28986DFB607}">
      <dsp:nvSpPr>
        <dsp:cNvPr id="0" name=""/>
        <dsp:cNvSpPr/>
      </dsp:nvSpPr>
      <dsp:spPr>
        <a:xfrm>
          <a:off x="7007" y="3507781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6 ( </a:t>
          </a:r>
          <a:r>
            <a:rPr lang="de-DE" sz="500" kern="1200" dirty="0" err="1"/>
            <a:t>Conclusion</a:t>
          </a:r>
          <a:r>
            <a:rPr lang="de-DE" sz="500" kern="1200" dirty="0"/>
            <a:t> and Outlook)</a:t>
          </a:r>
          <a:endParaRPr lang="en-US" sz="500" kern="1200" dirty="0"/>
        </a:p>
      </dsp:txBody>
      <dsp:txXfrm>
        <a:off x="290435" y="3507781"/>
        <a:ext cx="850285" cy="566856"/>
      </dsp:txXfrm>
    </dsp:sp>
    <dsp:sp modelId="{D7D0C5F5-C59F-4608-BBD6-ABF582589607}">
      <dsp:nvSpPr>
        <dsp:cNvPr id="0" name=""/>
        <dsp:cNvSpPr/>
      </dsp:nvSpPr>
      <dsp:spPr>
        <a:xfrm>
          <a:off x="1239920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Stacked</a:t>
          </a:r>
          <a:r>
            <a:rPr lang="de-DE" sz="500" kern="1200" dirty="0"/>
            <a:t> V-Model </a:t>
          </a:r>
          <a:endParaRPr lang="en-US" sz="500" kern="1200" dirty="0"/>
        </a:p>
      </dsp:txBody>
      <dsp:txXfrm>
        <a:off x="1475165" y="3555964"/>
        <a:ext cx="705737" cy="470490"/>
      </dsp:txXfrm>
    </dsp:sp>
    <dsp:sp modelId="{8CC4AD0A-52D2-4D87-A423-1923C75E65AF}">
      <dsp:nvSpPr>
        <dsp:cNvPr id="0" name=""/>
        <dsp:cNvSpPr/>
      </dsp:nvSpPr>
      <dsp:spPr>
        <a:xfrm>
          <a:off x="2251476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Innovation and exploration turbine</a:t>
          </a:r>
        </a:p>
      </dsp:txBody>
      <dsp:txXfrm>
        <a:off x="2486721" y="3555964"/>
        <a:ext cx="705737" cy="470490"/>
      </dsp:txXfrm>
    </dsp:sp>
    <dsp:sp modelId="{5CCDDD2F-6C68-4D07-AB18-B8E1062A66B0}">
      <dsp:nvSpPr>
        <dsp:cNvPr id="0" name=""/>
        <dsp:cNvSpPr/>
      </dsp:nvSpPr>
      <dsp:spPr>
        <a:xfrm>
          <a:off x="3263031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has</a:t>
          </a:r>
          <a:r>
            <a:rPr lang="de-DE" sz="500" kern="1200" dirty="0"/>
            <a:t> </a:t>
          </a:r>
          <a:r>
            <a:rPr lang="de-DE" sz="500" kern="1200" dirty="0" err="1"/>
            <a:t>been</a:t>
          </a:r>
          <a:r>
            <a:rPr lang="de-DE" sz="500" kern="1200" dirty="0"/>
            <a:t> </a:t>
          </a:r>
          <a:r>
            <a:rPr lang="de-DE" sz="500" kern="1200" dirty="0" err="1"/>
            <a:t>done</a:t>
          </a:r>
          <a:r>
            <a:rPr lang="de-DE" sz="500" kern="1200" dirty="0"/>
            <a:t> and </a:t>
          </a:r>
          <a:r>
            <a:rPr lang="de-DE" sz="500" kern="1200" dirty="0" err="1"/>
            <a:t>accomplished</a:t>
          </a:r>
          <a:r>
            <a:rPr lang="de-DE" sz="500" kern="1200" dirty="0"/>
            <a:t> in </a:t>
          </a:r>
          <a:r>
            <a:rPr lang="de-DE" sz="500" kern="1200" dirty="0" err="1"/>
            <a:t>this</a:t>
          </a:r>
          <a:r>
            <a:rPr lang="de-DE" sz="500" kern="1200" dirty="0"/>
            <a:t> </a:t>
          </a:r>
          <a:r>
            <a:rPr lang="de-DE" sz="500" kern="1200" dirty="0" err="1"/>
            <a:t>work</a:t>
          </a:r>
          <a:endParaRPr lang="en-US" sz="500" kern="1200" dirty="0"/>
        </a:p>
      </dsp:txBody>
      <dsp:txXfrm>
        <a:off x="3498276" y="3555964"/>
        <a:ext cx="705737" cy="470490"/>
      </dsp:txXfrm>
    </dsp:sp>
    <dsp:sp modelId="{C42CEEF2-F584-44B8-9CD7-4CD8C72F442D}">
      <dsp:nvSpPr>
        <dsp:cNvPr id="0" name=""/>
        <dsp:cNvSpPr/>
      </dsp:nvSpPr>
      <dsp:spPr>
        <a:xfrm>
          <a:off x="4274587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modular </a:t>
          </a:r>
          <a:r>
            <a:rPr lang="de-DE" sz="500" kern="1200" dirty="0" err="1"/>
            <a:t>interfaces</a:t>
          </a:r>
          <a:r>
            <a:rPr lang="de-DE" sz="500" kern="1200" dirty="0"/>
            <a:t> </a:t>
          </a:r>
          <a:r>
            <a:rPr lang="de-DE" sz="500" kern="1200" dirty="0" err="1"/>
            <a:t>were</a:t>
          </a:r>
          <a:r>
            <a:rPr lang="de-DE" sz="500" kern="1200" dirty="0"/>
            <a:t> </a:t>
          </a:r>
          <a:r>
            <a:rPr lang="de-DE" sz="500" kern="1200" dirty="0" err="1"/>
            <a:t>built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can</a:t>
          </a:r>
          <a:r>
            <a:rPr lang="de-DE" sz="500" kern="1200" dirty="0"/>
            <a:t> </a:t>
          </a:r>
          <a:r>
            <a:rPr lang="de-DE" sz="500" kern="1200" dirty="0" err="1"/>
            <a:t>be</a:t>
          </a:r>
          <a:r>
            <a:rPr lang="de-DE" sz="500" kern="1200" dirty="0"/>
            <a:t> </a:t>
          </a:r>
          <a:r>
            <a:rPr lang="de-DE" sz="500" kern="1200" dirty="0" err="1"/>
            <a:t>extended</a:t>
          </a:r>
          <a:r>
            <a:rPr lang="de-DE" sz="500" kern="1200" dirty="0"/>
            <a:t> in </a:t>
          </a:r>
          <a:r>
            <a:rPr lang="de-DE" sz="500" kern="1200" dirty="0" err="1"/>
            <a:t>the</a:t>
          </a:r>
          <a:r>
            <a:rPr lang="de-DE" sz="500" kern="1200" dirty="0"/>
            <a:t> </a:t>
          </a:r>
          <a:r>
            <a:rPr lang="de-DE" sz="500" kern="1200" dirty="0" err="1"/>
            <a:t>future</a:t>
          </a:r>
          <a:endParaRPr lang="en-US" sz="500" kern="1200" dirty="0"/>
        </a:p>
      </dsp:txBody>
      <dsp:txXfrm>
        <a:off x="4509832" y="3555964"/>
        <a:ext cx="705737" cy="4704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983259" y="1486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1 (Intro)</a:t>
          </a:r>
          <a:endParaRPr lang="en-US" sz="600" kern="1200" dirty="0"/>
        </a:p>
      </dsp:txBody>
      <dsp:txXfrm>
        <a:off x="1307764" y="1486"/>
        <a:ext cx="973515" cy="649009"/>
      </dsp:txXfrm>
    </dsp:sp>
    <dsp:sp modelId="{84C1BC01-2D36-4A34-9AC3-243DC19273DA}">
      <dsp:nvSpPr>
        <dsp:cNvPr id="0" name=""/>
        <dsp:cNvSpPr/>
      </dsp:nvSpPr>
      <dsp:spPr>
        <a:xfrm>
          <a:off x="983259" y="741357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2</a:t>
          </a:r>
          <a:endParaRPr lang="en-US" sz="600" kern="1200" dirty="0"/>
        </a:p>
      </dsp:txBody>
      <dsp:txXfrm>
        <a:off x="1307764" y="741357"/>
        <a:ext cx="973515" cy="649009"/>
      </dsp:txXfrm>
    </dsp:sp>
    <dsp:sp modelId="{5913A9EE-446A-4A75-BE28-16DB8E1205FF}">
      <dsp:nvSpPr>
        <dsp:cNvPr id="0" name=""/>
        <dsp:cNvSpPr/>
      </dsp:nvSpPr>
      <dsp:spPr>
        <a:xfrm>
          <a:off x="2394856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</a:t>
          </a:r>
          <a:r>
            <a:rPr lang="de-DE" sz="700" kern="1200" dirty="0" err="1"/>
            <a:t>is</a:t>
          </a:r>
          <a:r>
            <a:rPr lang="de-DE" sz="700" kern="1200" dirty="0"/>
            <a:t> SHM?</a:t>
          </a:r>
          <a:endParaRPr lang="en-US" sz="700" kern="1200" dirty="0"/>
        </a:p>
      </dsp:txBody>
      <dsp:txXfrm>
        <a:off x="2664195" y="796523"/>
        <a:ext cx="808017" cy="538678"/>
      </dsp:txXfrm>
    </dsp:sp>
    <dsp:sp modelId="{27099A77-E2FB-438B-83D9-F2B501EC6DE9}">
      <dsp:nvSpPr>
        <dsp:cNvPr id="0" name=""/>
        <dsp:cNvSpPr/>
      </dsp:nvSpPr>
      <dsp:spPr>
        <a:xfrm>
          <a:off x="3553013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FMEA</a:t>
          </a:r>
          <a:endParaRPr lang="en-US" sz="700" kern="1200" dirty="0"/>
        </a:p>
      </dsp:txBody>
      <dsp:txXfrm>
        <a:off x="3822352" y="796523"/>
        <a:ext cx="808017" cy="538678"/>
      </dsp:txXfrm>
    </dsp:sp>
    <dsp:sp modelId="{D1F829FC-5103-4AC9-B9FD-6CB932509BA5}">
      <dsp:nvSpPr>
        <dsp:cNvPr id="0" name=""/>
        <dsp:cNvSpPr/>
      </dsp:nvSpPr>
      <dsp:spPr>
        <a:xfrm>
          <a:off x="4711171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Data </a:t>
          </a:r>
          <a:r>
            <a:rPr lang="de-DE" sz="700" kern="1200" dirty="0" err="1"/>
            <a:t>structures</a:t>
          </a:r>
          <a:r>
            <a:rPr lang="de-DE" sz="700" kern="1200" dirty="0"/>
            <a:t>/</a:t>
          </a:r>
          <a:r>
            <a:rPr lang="de-DE" sz="700" kern="1200" dirty="0" err="1"/>
            <a:t>handling</a:t>
          </a:r>
          <a:endParaRPr lang="en-US" sz="700" kern="1200" dirty="0"/>
        </a:p>
      </dsp:txBody>
      <dsp:txXfrm>
        <a:off x="4980510" y="796523"/>
        <a:ext cx="808017" cy="538678"/>
      </dsp:txXfrm>
    </dsp:sp>
    <dsp:sp modelId="{C4BF724B-1935-4AD6-A16F-61AE5AC647F5}">
      <dsp:nvSpPr>
        <dsp:cNvPr id="0" name=""/>
        <dsp:cNvSpPr/>
      </dsp:nvSpPr>
      <dsp:spPr>
        <a:xfrm>
          <a:off x="983259" y="1481228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</a:t>
          </a:r>
          <a:endParaRPr lang="en-US" sz="600" kern="1200" dirty="0"/>
        </a:p>
      </dsp:txBody>
      <dsp:txXfrm>
        <a:off x="1307764" y="1481228"/>
        <a:ext cx="973515" cy="649009"/>
      </dsp:txXfrm>
    </dsp:sp>
    <dsp:sp modelId="{F19BB8E2-2133-4AF9-9893-EA0FB5E95A69}">
      <dsp:nvSpPr>
        <dsp:cNvPr id="0" name=""/>
        <dsp:cNvSpPr/>
      </dsp:nvSpPr>
      <dsp:spPr>
        <a:xfrm>
          <a:off x="2394856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Problem Statement</a:t>
          </a:r>
          <a:endParaRPr lang="en-US" sz="700" kern="1200" dirty="0"/>
        </a:p>
      </dsp:txBody>
      <dsp:txXfrm>
        <a:off x="2664195" y="1536394"/>
        <a:ext cx="808017" cy="538678"/>
      </dsp:txXfrm>
    </dsp:sp>
    <dsp:sp modelId="{9151B729-DB53-4F4F-B00A-CB5DD96882BF}">
      <dsp:nvSpPr>
        <dsp:cNvPr id="0" name=""/>
        <dsp:cNvSpPr/>
      </dsp:nvSpPr>
      <dsp:spPr>
        <a:xfrm>
          <a:off x="3553013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Methodology</a:t>
          </a:r>
          <a:endParaRPr lang="en-US" sz="700" kern="1200" dirty="0"/>
        </a:p>
      </dsp:txBody>
      <dsp:txXfrm>
        <a:off x="3822352" y="1536394"/>
        <a:ext cx="808017" cy="538678"/>
      </dsp:txXfrm>
    </dsp:sp>
    <dsp:sp modelId="{1DC25E45-1799-4F8B-887C-1FCDF2F1E4B5}">
      <dsp:nvSpPr>
        <dsp:cNvPr id="0" name=""/>
        <dsp:cNvSpPr/>
      </dsp:nvSpPr>
      <dsp:spPr>
        <a:xfrm>
          <a:off x="983259" y="2221099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4 (Methoden/Implementierung)</a:t>
          </a:r>
          <a:endParaRPr lang="en-US" sz="600" kern="1200" dirty="0"/>
        </a:p>
      </dsp:txBody>
      <dsp:txXfrm>
        <a:off x="1307764" y="2221099"/>
        <a:ext cx="973515" cy="649009"/>
      </dsp:txXfrm>
    </dsp:sp>
    <dsp:sp modelId="{D83E37D7-E8DD-4FC8-B491-40C6AA512C59}">
      <dsp:nvSpPr>
        <dsp:cNvPr id="0" name=""/>
        <dsp:cNvSpPr/>
      </dsp:nvSpPr>
      <dsp:spPr>
        <a:xfrm>
          <a:off x="2394856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troduction</a:t>
          </a:r>
        </a:p>
      </dsp:txBody>
      <dsp:txXfrm>
        <a:off x="2664195" y="2276265"/>
        <a:ext cx="808017" cy="538678"/>
      </dsp:txXfrm>
    </dsp:sp>
    <dsp:sp modelId="{A8F3C0CB-B31C-4487-A339-D3C3D54B408A}">
      <dsp:nvSpPr>
        <dsp:cNvPr id="0" name=""/>
        <dsp:cNvSpPr/>
      </dsp:nvSpPr>
      <dsp:spPr>
        <a:xfrm>
          <a:off x="3553013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Parsing/Provision</a:t>
          </a:r>
        </a:p>
      </dsp:txBody>
      <dsp:txXfrm>
        <a:off x="3822352" y="2276265"/>
        <a:ext cx="808017" cy="538678"/>
      </dsp:txXfrm>
    </dsp:sp>
    <dsp:sp modelId="{FE24FA5B-1A02-4347-81AE-81CED8B155B0}">
      <dsp:nvSpPr>
        <dsp:cNvPr id="0" name=""/>
        <dsp:cNvSpPr/>
      </dsp:nvSpPr>
      <dsp:spPr>
        <a:xfrm>
          <a:off x="4711171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figuration Metadata</a:t>
          </a:r>
        </a:p>
      </dsp:txBody>
      <dsp:txXfrm>
        <a:off x="4980510" y="2276265"/>
        <a:ext cx="808017" cy="538678"/>
      </dsp:txXfrm>
    </dsp:sp>
    <dsp:sp modelId="{A534B931-3FEB-47B1-B323-5B3A01997C9D}">
      <dsp:nvSpPr>
        <dsp:cNvPr id="0" name=""/>
        <dsp:cNvSpPr/>
      </dsp:nvSpPr>
      <dsp:spPr>
        <a:xfrm>
          <a:off x="5869329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Processing</a:t>
          </a:r>
        </a:p>
      </dsp:txBody>
      <dsp:txXfrm>
        <a:off x="6138668" y="2276265"/>
        <a:ext cx="808017" cy="538678"/>
      </dsp:txXfrm>
    </dsp:sp>
    <dsp:sp modelId="{282BB5C7-1BB5-4650-971D-91C975944181}">
      <dsp:nvSpPr>
        <dsp:cNvPr id="0" name=""/>
        <dsp:cNvSpPr/>
      </dsp:nvSpPr>
      <dsp:spPr>
        <a:xfrm>
          <a:off x="7027487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Report visualization</a:t>
          </a:r>
        </a:p>
      </dsp:txBody>
      <dsp:txXfrm>
        <a:off x="7296826" y="2276265"/>
        <a:ext cx="808017" cy="538678"/>
      </dsp:txXfrm>
    </dsp:sp>
    <dsp:sp modelId="{CF8E233A-579E-4E8F-ADAD-EED815A0AA83}">
      <dsp:nvSpPr>
        <dsp:cNvPr id="0" name=""/>
        <dsp:cNvSpPr/>
      </dsp:nvSpPr>
      <dsp:spPr>
        <a:xfrm>
          <a:off x="8185644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clusion</a:t>
          </a:r>
        </a:p>
      </dsp:txBody>
      <dsp:txXfrm>
        <a:off x="8454983" y="2276265"/>
        <a:ext cx="808017" cy="538678"/>
      </dsp:txXfrm>
    </dsp:sp>
    <dsp:sp modelId="{D940DDA1-996D-49EE-A809-F3A9B06C3F06}">
      <dsp:nvSpPr>
        <dsp:cNvPr id="0" name=""/>
        <dsp:cNvSpPr/>
      </dsp:nvSpPr>
      <dsp:spPr>
        <a:xfrm>
          <a:off x="983259" y="2960970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5 (</a:t>
          </a:r>
          <a:r>
            <a:rPr lang="de-DE" sz="600" kern="1200" dirty="0" err="1"/>
            <a:t>Results</a:t>
          </a:r>
          <a:r>
            <a:rPr lang="de-DE" sz="600" kern="1200" dirty="0"/>
            <a:t> and </a:t>
          </a:r>
          <a:r>
            <a:rPr lang="de-DE" sz="600" kern="1200" dirty="0" err="1"/>
            <a:t>Discussion</a:t>
          </a:r>
          <a:r>
            <a:rPr lang="de-DE" sz="600" kern="1200" dirty="0"/>
            <a:t>)</a:t>
          </a:r>
          <a:endParaRPr lang="en-US" sz="600" kern="1200" dirty="0"/>
        </a:p>
      </dsp:txBody>
      <dsp:txXfrm>
        <a:off x="1307764" y="2960970"/>
        <a:ext cx="973515" cy="649009"/>
      </dsp:txXfrm>
    </dsp:sp>
    <dsp:sp modelId="{FDC27003-E859-4A44-9A35-15C12E93CD52}">
      <dsp:nvSpPr>
        <dsp:cNvPr id="0" name=""/>
        <dsp:cNvSpPr/>
      </dsp:nvSpPr>
      <dsp:spPr>
        <a:xfrm>
          <a:off x="2394856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Metadata</a:t>
          </a:r>
          <a:r>
            <a:rPr lang="de-DE" sz="700" kern="1200" dirty="0"/>
            <a:t> </a:t>
          </a:r>
          <a:r>
            <a:rPr lang="de-DE" sz="700" kern="1200" dirty="0" err="1"/>
            <a:t>structure</a:t>
          </a:r>
          <a:endParaRPr lang="en-US" sz="700" kern="1200" dirty="0"/>
        </a:p>
      </dsp:txBody>
      <dsp:txXfrm>
        <a:off x="2664195" y="3016136"/>
        <a:ext cx="808017" cy="538678"/>
      </dsp:txXfrm>
    </dsp:sp>
    <dsp:sp modelId="{1E9BEE94-7A14-421C-91E5-1F29D6675224}">
      <dsp:nvSpPr>
        <dsp:cNvPr id="0" name=""/>
        <dsp:cNvSpPr/>
      </dsp:nvSpPr>
      <dsp:spPr>
        <a:xfrm>
          <a:off x="3553013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heck testing 1,2,3</a:t>
          </a:r>
        </a:p>
      </dsp:txBody>
      <dsp:txXfrm>
        <a:off x="3822352" y="3016136"/>
        <a:ext cx="808017" cy="538678"/>
      </dsp:txXfrm>
    </dsp:sp>
    <dsp:sp modelId="{7ABFCB9A-774A-48FE-B3BA-B3AB3E062DED}">
      <dsp:nvSpPr>
        <dsp:cNvPr id="0" name=""/>
        <dsp:cNvSpPr/>
      </dsp:nvSpPr>
      <dsp:spPr>
        <a:xfrm>
          <a:off x="4711171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mplementation ecosystem</a:t>
          </a:r>
        </a:p>
      </dsp:txBody>
      <dsp:txXfrm>
        <a:off x="4980510" y="3016136"/>
        <a:ext cx="808017" cy="538678"/>
      </dsp:txXfrm>
    </dsp:sp>
    <dsp:sp modelId="{8C5E9B02-BD7A-443D-ACA8-35C084267E52}">
      <dsp:nvSpPr>
        <dsp:cNvPr id="0" name=""/>
        <dsp:cNvSpPr/>
      </dsp:nvSpPr>
      <dsp:spPr>
        <a:xfrm>
          <a:off x="5869329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iscussion/Potential</a:t>
          </a:r>
        </a:p>
      </dsp:txBody>
      <dsp:txXfrm>
        <a:off x="6138668" y="3016136"/>
        <a:ext cx="808017" cy="538678"/>
      </dsp:txXfrm>
    </dsp:sp>
    <dsp:sp modelId="{BB059354-92A8-4976-977F-ECC4B368E235}">
      <dsp:nvSpPr>
        <dsp:cNvPr id="0" name=""/>
        <dsp:cNvSpPr/>
      </dsp:nvSpPr>
      <dsp:spPr>
        <a:xfrm>
          <a:off x="7027487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clusion</a:t>
          </a:r>
        </a:p>
      </dsp:txBody>
      <dsp:txXfrm>
        <a:off x="7296826" y="3016136"/>
        <a:ext cx="808017" cy="538678"/>
      </dsp:txXfrm>
    </dsp:sp>
    <dsp:sp modelId="{8985DF1B-D650-4F7B-B27C-F28986DFB607}">
      <dsp:nvSpPr>
        <dsp:cNvPr id="0" name=""/>
        <dsp:cNvSpPr/>
      </dsp:nvSpPr>
      <dsp:spPr>
        <a:xfrm>
          <a:off x="983259" y="3700841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6 ( </a:t>
          </a:r>
          <a:r>
            <a:rPr lang="de-DE" sz="600" kern="1200" dirty="0" err="1"/>
            <a:t>Conclusion</a:t>
          </a:r>
          <a:r>
            <a:rPr lang="de-DE" sz="600" kern="1200" dirty="0"/>
            <a:t> and Outlook)</a:t>
          </a:r>
          <a:endParaRPr lang="en-US" sz="600" kern="1200" dirty="0"/>
        </a:p>
      </dsp:txBody>
      <dsp:txXfrm>
        <a:off x="1307764" y="3700841"/>
        <a:ext cx="973515" cy="649009"/>
      </dsp:txXfrm>
    </dsp:sp>
    <dsp:sp modelId="{D7D0C5F5-C59F-4608-BBD6-ABF582589607}">
      <dsp:nvSpPr>
        <dsp:cNvPr id="0" name=""/>
        <dsp:cNvSpPr/>
      </dsp:nvSpPr>
      <dsp:spPr>
        <a:xfrm>
          <a:off x="2394856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Stacked</a:t>
          </a:r>
          <a:r>
            <a:rPr lang="de-DE" sz="700" kern="1200" dirty="0"/>
            <a:t> V-Model </a:t>
          </a:r>
          <a:endParaRPr lang="en-US" sz="700" kern="1200" dirty="0"/>
        </a:p>
      </dsp:txBody>
      <dsp:txXfrm>
        <a:off x="2664195" y="3756007"/>
        <a:ext cx="808017" cy="538678"/>
      </dsp:txXfrm>
    </dsp:sp>
    <dsp:sp modelId="{8CC4AD0A-52D2-4D87-A423-1923C75E65AF}">
      <dsp:nvSpPr>
        <dsp:cNvPr id="0" name=""/>
        <dsp:cNvSpPr/>
      </dsp:nvSpPr>
      <dsp:spPr>
        <a:xfrm>
          <a:off x="3553013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novation and exploration turbine</a:t>
          </a:r>
        </a:p>
      </dsp:txBody>
      <dsp:txXfrm>
        <a:off x="3822352" y="3756007"/>
        <a:ext cx="808017" cy="538678"/>
      </dsp:txXfrm>
    </dsp:sp>
    <dsp:sp modelId="{5CCDDD2F-6C68-4D07-AB18-B8E1062A66B0}">
      <dsp:nvSpPr>
        <dsp:cNvPr id="0" name=""/>
        <dsp:cNvSpPr/>
      </dsp:nvSpPr>
      <dsp:spPr>
        <a:xfrm>
          <a:off x="4711171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</a:t>
          </a:r>
          <a:r>
            <a:rPr lang="de-DE" sz="700" kern="1200" dirty="0" err="1"/>
            <a:t>has</a:t>
          </a:r>
          <a:r>
            <a:rPr lang="de-DE" sz="700" kern="1200" dirty="0"/>
            <a:t> </a:t>
          </a:r>
          <a:r>
            <a:rPr lang="de-DE" sz="700" kern="1200" dirty="0" err="1"/>
            <a:t>been</a:t>
          </a:r>
          <a:r>
            <a:rPr lang="de-DE" sz="700" kern="1200" dirty="0"/>
            <a:t> </a:t>
          </a:r>
          <a:r>
            <a:rPr lang="de-DE" sz="700" kern="1200" dirty="0" err="1"/>
            <a:t>done</a:t>
          </a:r>
          <a:r>
            <a:rPr lang="de-DE" sz="700" kern="1200" dirty="0"/>
            <a:t> and </a:t>
          </a:r>
          <a:r>
            <a:rPr lang="de-DE" sz="700" kern="1200" dirty="0" err="1"/>
            <a:t>accomplished</a:t>
          </a:r>
          <a:r>
            <a:rPr lang="de-DE" sz="700" kern="1200" dirty="0"/>
            <a:t> in </a:t>
          </a:r>
          <a:r>
            <a:rPr lang="de-DE" sz="700" kern="1200" dirty="0" err="1"/>
            <a:t>this</a:t>
          </a:r>
          <a:r>
            <a:rPr lang="de-DE" sz="700" kern="1200" dirty="0"/>
            <a:t> </a:t>
          </a:r>
          <a:r>
            <a:rPr lang="de-DE" sz="700" kern="1200" dirty="0" err="1"/>
            <a:t>work</a:t>
          </a:r>
          <a:endParaRPr lang="en-US" sz="700" kern="1200" dirty="0"/>
        </a:p>
      </dsp:txBody>
      <dsp:txXfrm>
        <a:off x="4980510" y="3756007"/>
        <a:ext cx="808017" cy="538678"/>
      </dsp:txXfrm>
    </dsp:sp>
    <dsp:sp modelId="{C42CEEF2-F584-44B8-9CD7-4CD8C72F442D}">
      <dsp:nvSpPr>
        <dsp:cNvPr id="0" name=""/>
        <dsp:cNvSpPr/>
      </dsp:nvSpPr>
      <dsp:spPr>
        <a:xfrm>
          <a:off x="5869329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modular </a:t>
          </a:r>
          <a:r>
            <a:rPr lang="de-DE" sz="700" kern="1200" dirty="0" err="1"/>
            <a:t>interfaces</a:t>
          </a:r>
          <a:r>
            <a:rPr lang="de-DE" sz="700" kern="1200" dirty="0"/>
            <a:t> </a:t>
          </a:r>
          <a:r>
            <a:rPr lang="de-DE" sz="700" kern="1200" dirty="0" err="1"/>
            <a:t>were</a:t>
          </a:r>
          <a:r>
            <a:rPr lang="de-DE" sz="700" kern="1200" dirty="0"/>
            <a:t> </a:t>
          </a:r>
          <a:r>
            <a:rPr lang="de-DE" sz="700" kern="1200" dirty="0" err="1"/>
            <a:t>built</a:t>
          </a:r>
          <a:r>
            <a:rPr lang="de-DE" sz="700" kern="1200" dirty="0"/>
            <a:t> </a:t>
          </a:r>
          <a:r>
            <a:rPr lang="de-DE" sz="700" kern="1200" dirty="0" err="1"/>
            <a:t>that</a:t>
          </a:r>
          <a:r>
            <a:rPr lang="de-DE" sz="700" kern="1200" dirty="0"/>
            <a:t> </a:t>
          </a:r>
          <a:r>
            <a:rPr lang="de-DE" sz="700" kern="1200" dirty="0" err="1"/>
            <a:t>can</a:t>
          </a:r>
          <a:r>
            <a:rPr lang="de-DE" sz="700" kern="1200" dirty="0"/>
            <a:t> </a:t>
          </a:r>
          <a:r>
            <a:rPr lang="de-DE" sz="700" kern="1200" dirty="0" err="1"/>
            <a:t>be</a:t>
          </a:r>
          <a:r>
            <a:rPr lang="de-DE" sz="700" kern="1200" dirty="0"/>
            <a:t> </a:t>
          </a:r>
          <a:r>
            <a:rPr lang="de-DE" sz="700" kern="1200" dirty="0" err="1"/>
            <a:t>extended</a:t>
          </a:r>
          <a:r>
            <a:rPr lang="de-DE" sz="700" kern="1200" dirty="0"/>
            <a:t> in </a:t>
          </a:r>
          <a:r>
            <a:rPr lang="de-DE" sz="700" kern="1200" dirty="0" err="1"/>
            <a:t>the</a:t>
          </a:r>
          <a:r>
            <a:rPr lang="de-DE" sz="700" kern="1200" dirty="0"/>
            <a:t> </a:t>
          </a:r>
          <a:r>
            <a:rPr lang="de-DE" sz="700" kern="1200" dirty="0" err="1"/>
            <a:t>future</a:t>
          </a:r>
          <a:endParaRPr lang="en-US" sz="700" kern="1200" dirty="0"/>
        </a:p>
      </dsp:txBody>
      <dsp:txXfrm>
        <a:off x="6138668" y="3756007"/>
        <a:ext cx="808017" cy="5386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7296D7-D10A-4EC6-9374-BE8D82C225D3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9000000"/>
            <a:gd name="adj2" fmla="val 162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DC771B-CD24-4B34-B6E1-2947EF26176D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800000"/>
            <a:gd name="adj2" fmla="val 90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9FC392-99BA-42CB-81D8-010DDF2422BB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6200000"/>
            <a:gd name="adj2" fmla="val 18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B70BD2-AF4D-4326-A061-AF3ACCE4586A}">
      <dsp:nvSpPr>
        <dsp:cNvPr id="0" name=""/>
        <dsp:cNvSpPr/>
      </dsp:nvSpPr>
      <dsp:spPr>
        <a:xfrm>
          <a:off x="4433701" y="1502967"/>
          <a:ext cx="1648197" cy="16481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/>
            <a:t>Semiotics</a:t>
          </a:r>
          <a:endParaRPr lang="de-DE" sz="2200" kern="1200" dirty="0"/>
        </a:p>
      </dsp:txBody>
      <dsp:txXfrm>
        <a:off x="4675074" y="1744340"/>
        <a:ext cx="1165451" cy="1165451"/>
      </dsp:txXfrm>
    </dsp:sp>
    <dsp:sp modelId="{058090B1-DEFA-467C-B052-6CDA9FCB5860}">
      <dsp:nvSpPr>
        <dsp:cNvPr id="0" name=""/>
        <dsp:cNvSpPr/>
      </dsp:nvSpPr>
      <dsp:spPr>
        <a:xfrm>
          <a:off x="4680931" y="44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Pragmatics</a:t>
          </a:r>
          <a:endParaRPr lang="de-DE" sz="1300" kern="1200" dirty="0"/>
        </a:p>
      </dsp:txBody>
      <dsp:txXfrm>
        <a:off x="4849892" y="169404"/>
        <a:ext cx="815815" cy="815815"/>
      </dsp:txXfrm>
    </dsp:sp>
    <dsp:sp modelId="{419242EA-711E-497C-A0D4-92DD5790CA4B}">
      <dsp:nvSpPr>
        <dsp:cNvPr id="0" name=""/>
        <dsp:cNvSpPr/>
      </dsp:nvSpPr>
      <dsp:spPr>
        <a:xfrm>
          <a:off x="6196262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emantics</a:t>
          </a:r>
          <a:endParaRPr lang="de-DE" sz="1300" kern="1200" dirty="0"/>
        </a:p>
      </dsp:txBody>
      <dsp:txXfrm>
        <a:off x="6365223" y="2794034"/>
        <a:ext cx="815815" cy="815815"/>
      </dsp:txXfrm>
    </dsp:sp>
    <dsp:sp modelId="{BE4F082B-93AB-47B3-A14A-B81B56810595}">
      <dsp:nvSpPr>
        <dsp:cNvPr id="0" name=""/>
        <dsp:cNvSpPr/>
      </dsp:nvSpPr>
      <dsp:spPr>
        <a:xfrm>
          <a:off x="3165599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yntactics</a:t>
          </a:r>
          <a:endParaRPr lang="de-DE" sz="1300" kern="1200" dirty="0"/>
        </a:p>
      </dsp:txBody>
      <dsp:txXfrm>
        <a:off x="3334560" y="2794034"/>
        <a:ext cx="815815" cy="8158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D6BC04-172F-4C40-8C56-B34AE3F795C5}">
      <dsp:nvSpPr>
        <dsp:cNvPr id="0" name=""/>
        <dsp:cNvSpPr/>
      </dsp:nvSpPr>
      <dsp:spPr>
        <a:xfrm>
          <a:off x="3799902" y="1178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Element</a:t>
          </a:r>
        </a:p>
      </dsp:txBody>
      <dsp:txXfrm>
        <a:off x="3819202" y="20478"/>
        <a:ext cx="949804" cy="620336"/>
      </dsp:txXfrm>
    </dsp:sp>
    <dsp:sp modelId="{53DA0C7F-A410-4F3A-A551-31BB8CEAAF35}">
      <dsp:nvSpPr>
        <dsp:cNvPr id="0" name=""/>
        <dsp:cNvSpPr/>
      </dsp:nvSpPr>
      <dsp:spPr>
        <a:xfrm>
          <a:off x="3651642" y="660114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EDB877-DFB8-4595-8FB6-9818237BFD04}">
      <dsp:nvSpPr>
        <dsp:cNvPr id="0" name=""/>
        <dsp:cNvSpPr/>
      </dsp:nvSpPr>
      <dsp:spPr>
        <a:xfrm>
          <a:off x="3157439" y="923689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3176739" y="942989"/>
        <a:ext cx="949804" cy="620336"/>
      </dsp:txXfrm>
    </dsp:sp>
    <dsp:sp modelId="{3A24F69E-B741-44C0-8D91-D2BC5A280F65}">
      <dsp:nvSpPr>
        <dsp:cNvPr id="0" name=""/>
        <dsp:cNvSpPr/>
      </dsp:nvSpPr>
      <dsp:spPr>
        <a:xfrm>
          <a:off x="4294105" y="660114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BEA836-034E-494E-9781-ADC9FC927960}">
      <dsp:nvSpPr>
        <dsp:cNvPr id="0" name=""/>
        <dsp:cNvSpPr/>
      </dsp:nvSpPr>
      <dsp:spPr>
        <a:xfrm>
          <a:off x="4442366" y="923689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Components</a:t>
          </a:r>
        </a:p>
      </dsp:txBody>
      <dsp:txXfrm>
        <a:off x="4461666" y="942989"/>
        <a:ext cx="949804" cy="620336"/>
      </dsp:txXfrm>
    </dsp:sp>
    <dsp:sp modelId="{77247B8C-193F-484A-9C50-F6144B69E6D6}">
      <dsp:nvSpPr>
        <dsp:cNvPr id="0" name=""/>
        <dsp:cNvSpPr/>
      </dsp:nvSpPr>
      <dsp:spPr>
        <a:xfrm>
          <a:off x="3651642" y="1582626"/>
          <a:ext cx="1284926" cy="263574"/>
        </a:xfrm>
        <a:custGeom>
          <a:avLst/>
          <a:gdLst/>
          <a:ahLst/>
          <a:cxnLst/>
          <a:rect l="0" t="0" r="0" b="0"/>
          <a:pathLst>
            <a:path>
              <a:moveTo>
                <a:pt x="1284926" y="0"/>
              </a:moveTo>
              <a:lnTo>
                <a:pt x="1284926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D5B6DC-A7E8-4CF0-A361-8EB48FF52EE5}">
      <dsp:nvSpPr>
        <dsp:cNvPr id="0" name=""/>
        <dsp:cNvSpPr/>
      </dsp:nvSpPr>
      <dsp:spPr>
        <a:xfrm>
          <a:off x="3157439" y="1846200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1</a:t>
          </a:r>
        </a:p>
      </dsp:txBody>
      <dsp:txXfrm>
        <a:off x="3176739" y="1865500"/>
        <a:ext cx="949804" cy="620336"/>
      </dsp:txXfrm>
    </dsp:sp>
    <dsp:sp modelId="{8BE9DD71-CFF1-44DC-9DA7-B0907FE20530}">
      <dsp:nvSpPr>
        <dsp:cNvPr id="0" name=""/>
        <dsp:cNvSpPr/>
      </dsp:nvSpPr>
      <dsp:spPr>
        <a:xfrm>
          <a:off x="3009179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1333E1-22FF-4D9A-B494-BD3BDE501598}">
      <dsp:nvSpPr>
        <dsp:cNvPr id="0" name=""/>
        <dsp:cNvSpPr/>
      </dsp:nvSpPr>
      <dsp:spPr>
        <a:xfrm>
          <a:off x="2514976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Reference</a:t>
          </a:r>
        </a:p>
      </dsp:txBody>
      <dsp:txXfrm>
        <a:off x="2534276" y="2788011"/>
        <a:ext cx="949804" cy="620336"/>
      </dsp:txXfrm>
    </dsp:sp>
    <dsp:sp modelId="{4D1DCB21-D674-4BC0-9B75-E7E0FAFD2ED2}">
      <dsp:nvSpPr>
        <dsp:cNvPr id="0" name=""/>
        <dsp:cNvSpPr/>
      </dsp:nvSpPr>
      <dsp:spPr>
        <a:xfrm>
          <a:off x="3651642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CE2F77-49F4-4DE3-8D51-CDAF84551E61}">
      <dsp:nvSpPr>
        <dsp:cNvPr id="0" name=""/>
        <dsp:cNvSpPr/>
      </dsp:nvSpPr>
      <dsp:spPr>
        <a:xfrm>
          <a:off x="3799902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3819202" y="2788011"/>
        <a:ext cx="949804" cy="620336"/>
      </dsp:txXfrm>
    </dsp:sp>
    <dsp:sp modelId="{218FDDD4-1E68-4754-86AD-5CFD7F43C0C6}">
      <dsp:nvSpPr>
        <dsp:cNvPr id="0" name=""/>
        <dsp:cNvSpPr/>
      </dsp:nvSpPr>
      <dsp:spPr>
        <a:xfrm>
          <a:off x="4936568" y="1582626"/>
          <a:ext cx="1284926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1284926" y="131787"/>
              </a:lnTo>
              <a:lnTo>
                <a:pt x="1284926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11A214-8010-41A8-A2AC-1F575E448A95}">
      <dsp:nvSpPr>
        <dsp:cNvPr id="0" name=""/>
        <dsp:cNvSpPr/>
      </dsp:nvSpPr>
      <dsp:spPr>
        <a:xfrm>
          <a:off x="5727292" y="1846200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Component</a:t>
          </a:r>
          <a:r>
            <a:rPr lang="de-DE" sz="1200" kern="1200" dirty="0"/>
            <a:t> 1</a:t>
          </a:r>
        </a:p>
      </dsp:txBody>
      <dsp:txXfrm>
        <a:off x="5746592" y="1865500"/>
        <a:ext cx="949804" cy="620336"/>
      </dsp:txXfrm>
    </dsp:sp>
    <dsp:sp modelId="{FEC44A9A-21C9-4606-8051-78C812299206}">
      <dsp:nvSpPr>
        <dsp:cNvPr id="0" name=""/>
        <dsp:cNvSpPr/>
      </dsp:nvSpPr>
      <dsp:spPr>
        <a:xfrm>
          <a:off x="5579031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50904D-9E76-4B81-B1F5-A9E14E2B453C}">
      <dsp:nvSpPr>
        <dsp:cNvPr id="0" name=""/>
        <dsp:cNvSpPr/>
      </dsp:nvSpPr>
      <dsp:spPr>
        <a:xfrm>
          <a:off x="5084829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5104129" y="2788011"/>
        <a:ext cx="949804" cy="620336"/>
      </dsp:txXfrm>
    </dsp:sp>
    <dsp:sp modelId="{6F91ACC4-26DE-449A-AFEC-5682DA880D48}">
      <dsp:nvSpPr>
        <dsp:cNvPr id="0" name=""/>
        <dsp:cNvSpPr/>
      </dsp:nvSpPr>
      <dsp:spPr>
        <a:xfrm>
          <a:off x="6221494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4127C2-2487-4A15-8713-339DCE036467}">
      <dsp:nvSpPr>
        <dsp:cNvPr id="0" name=""/>
        <dsp:cNvSpPr/>
      </dsp:nvSpPr>
      <dsp:spPr>
        <a:xfrm>
          <a:off x="6369755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Components</a:t>
          </a:r>
        </a:p>
      </dsp:txBody>
      <dsp:txXfrm>
        <a:off x="6389055" y="2788011"/>
        <a:ext cx="949804" cy="620336"/>
      </dsp:txXfrm>
    </dsp:sp>
    <dsp:sp modelId="{563A516D-AEF8-4506-9C6E-50A5505BE890}">
      <dsp:nvSpPr>
        <dsp:cNvPr id="0" name=""/>
        <dsp:cNvSpPr/>
      </dsp:nvSpPr>
      <dsp:spPr>
        <a:xfrm>
          <a:off x="6221494" y="3427648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D5F001-92E7-4072-85AC-07E59887CB15}">
      <dsp:nvSpPr>
        <dsp:cNvPr id="0" name=""/>
        <dsp:cNvSpPr/>
      </dsp:nvSpPr>
      <dsp:spPr>
        <a:xfrm>
          <a:off x="5727292" y="3691223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1</a:t>
          </a:r>
        </a:p>
      </dsp:txBody>
      <dsp:txXfrm>
        <a:off x="5746592" y="3710523"/>
        <a:ext cx="949804" cy="620336"/>
      </dsp:txXfrm>
    </dsp:sp>
    <dsp:sp modelId="{2B52B1C9-E455-4241-9CB1-5CD51BB25F65}">
      <dsp:nvSpPr>
        <dsp:cNvPr id="0" name=""/>
        <dsp:cNvSpPr/>
      </dsp:nvSpPr>
      <dsp:spPr>
        <a:xfrm>
          <a:off x="6863957" y="3427648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60E44B-F2B7-42C8-892D-C15058943036}">
      <dsp:nvSpPr>
        <dsp:cNvPr id="0" name=""/>
        <dsp:cNvSpPr/>
      </dsp:nvSpPr>
      <dsp:spPr>
        <a:xfrm>
          <a:off x="7012218" y="3691223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2</a:t>
          </a:r>
        </a:p>
      </dsp:txBody>
      <dsp:txXfrm>
        <a:off x="7031518" y="3710523"/>
        <a:ext cx="949804" cy="62033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D6BC04-172F-4C40-8C56-B34AE3F795C5}">
      <dsp:nvSpPr>
        <dsp:cNvPr id="0" name=""/>
        <dsp:cNvSpPr/>
      </dsp:nvSpPr>
      <dsp:spPr>
        <a:xfrm>
          <a:off x="4321625" y="1961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Sensor Health Monitoring (Flight)</a:t>
          </a:r>
        </a:p>
      </dsp:txBody>
      <dsp:txXfrm>
        <a:off x="4341035" y="21371"/>
        <a:ext cx="955265" cy="623903"/>
      </dsp:txXfrm>
    </dsp:sp>
    <dsp:sp modelId="{53DA0C7F-A410-4F3A-A551-31BB8CEAAF35}">
      <dsp:nvSpPr>
        <dsp:cNvPr id="0" name=""/>
        <dsp:cNvSpPr/>
      </dsp:nvSpPr>
      <dsp:spPr>
        <a:xfrm>
          <a:off x="1264812" y="664685"/>
          <a:ext cx="3553855" cy="265089"/>
        </a:xfrm>
        <a:custGeom>
          <a:avLst/>
          <a:gdLst/>
          <a:ahLst/>
          <a:cxnLst/>
          <a:rect l="0" t="0" r="0" b="0"/>
          <a:pathLst>
            <a:path>
              <a:moveTo>
                <a:pt x="3553855" y="0"/>
              </a:moveTo>
              <a:lnTo>
                <a:pt x="3553855" y="132544"/>
              </a:lnTo>
              <a:lnTo>
                <a:pt x="0" y="132544"/>
              </a:lnTo>
              <a:lnTo>
                <a:pt x="0" y="265089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EDB877-DFB8-4595-8FB6-9818237BFD04}">
      <dsp:nvSpPr>
        <dsp:cNvPr id="0" name=""/>
        <dsp:cNvSpPr/>
      </dsp:nvSpPr>
      <dsp:spPr>
        <a:xfrm>
          <a:off x="767769" y="929774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Missing</a:t>
          </a:r>
          <a:r>
            <a:rPr lang="de-DE" sz="1200" kern="1200" dirty="0"/>
            <a:t> Parameters</a:t>
          </a:r>
        </a:p>
      </dsp:txBody>
      <dsp:txXfrm>
        <a:off x="787179" y="949184"/>
        <a:ext cx="955265" cy="623903"/>
      </dsp:txXfrm>
    </dsp:sp>
    <dsp:sp modelId="{9A6EA72D-7950-47A3-9563-AA81B9FE237C}">
      <dsp:nvSpPr>
        <dsp:cNvPr id="0" name=""/>
        <dsp:cNvSpPr/>
      </dsp:nvSpPr>
      <dsp:spPr>
        <a:xfrm>
          <a:off x="1219092" y="1592498"/>
          <a:ext cx="91440" cy="26508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5B1BF2-BC6A-407E-BC6D-26BC5ADD1044}">
      <dsp:nvSpPr>
        <dsp:cNvPr id="0" name=""/>
        <dsp:cNvSpPr/>
      </dsp:nvSpPr>
      <dsp:spPr>
        <a:xfrm>
          <a:off x="767769" y="1857588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List </a:t>
          </a:r>
          <a:r>
            <a:rPr lang="de-DE" sz="1200" kern="1200" dirty="0" err="1"/>
            <a:t>of</a:t>
          </a:r>
          <a:r>
            <a:rPr lang="de-DE" sz="1200" kern="1200" dirty="0"/>
            <a:t> </a:t>
          </a:r>
          <a:r>
            <a:rPr lang="de-DE" sz="1200" kern="1200" dirty="0" err="1"/>
            <a:t>missing</a:t>
          </a:r>
          <a:r>
            <a:rPr lang="de-DE" sz="1200" kern="1200" dirty="0"/>
            <a:t> </a:t>
          </a:r>
          <a:r>
            <a:rPr lang="de-DE" sz="1200" kern="1200" dirty="0" err="1"/>
            <a:t>parameters</a:t>
          </a:r>
          <a:endParaRPr lang="de-DE" sz="1200" kern="1200" dirty="0"/>
        </a:p>
      </dsp:txBody>
      <dsp:txXfrm>
        <a:off x="787179" y="1876998"/>
        <a:ext cx="955265" cy="623903"/>
      </dsp:txXfrm>
    </dsp:sp>
    <dsp:sp modelId="{41056A6E-9F86-4F20-B58E-BEBCB3407388}">
      <dsp:nvSpPr>
        <dsp:cNvPr id="0" name=""/>
        <dsp:cNvSpPr/>
      </dsp:nvSpPr>
      <dsp:spPr>
        <a:xfrm>
          <a:off x="618656" y="2520311"/>
          <a:ext cx="646155" cy="265089"/>
        </a:xfrm>
        <a:custGeom>
          <a:avLst/>
          <a:gdLst/>
          <a:ahLst/>
          <a:cxnLst/>
          <a:rect l="0" t="0" r="0" b="0"/>
          <a:pathLst>
            <a:path>
              <a:moveTo>
                <a:pt x="646155" y="0"/>
              </a:moveTo>
              <a:lnTo>
                <a:pt x="646155" y="132544"/>
              </a:lnTo>
              <a:lnTo>
                <a:pt x="0" y="132544"/>
              </a:lnTo>
              <a:lnTo>
                <a:pt x="0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7B8E041-27A7-4DC0-B0A8-54E724C58F0D}">
      <dsp:nvSpPr>
        <dsp:cNvPr id="0" name=""/>
        <dsp:cNvSpPr/>
      </dsp:nvSpPr>
      <dsp:spPr>
        <a:xfrm>
          <a:off x="121613" y="2785401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Parameter 2</a:t>
          </a:r>
        </a:p>
      </dsp:txBody>
      <dsp:txXfrm>
        <a:off x="141023" y="2804811"/>
        <a:ext cx="955265" cy="623903"/>
      </dsp:txXfrm>
    </dsp:sp>
    <dsp:sp modelId="{37EB02D2-C074-48E6-A02E-5FE0B7ABFD8F}">
      <dsp:nvSpPr>
        <dsp:cNvPr id="0" name=""/>
        <dsp:cNvSpPr/>
      </dsp:nvSpPr>
      <dsp:spPr>
        <a:xfrm>
          <a:off x="1264812" y="2520311"/>
          <a:ext cx="646155" cy="2650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2544"/>
              </a:lnTo>
              <a:lnTo>
                <a:pt x="646155" y="132544"/>
              </a:lnTo>
              <a:lnTo>
                <a:pt x="646155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A61532-8B95-4A57-8600-385CBAE32676}">
      <dsp:nvSpPr>
        <dsp:cNvPr id="0" name=""/>
        <dsp:cNvSpPr/>
      </dsp:nvSpPr>
      <dsp:spPr>
        <a:xfrm>
          <a:off x="1413924" y="2785401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Parameter 3</a:t>
          </a:r>
        </a:p>
      </dsp:txBody>
      <dsp:txXfrm>
        <a:off x="1433334" y="2804811"/>
        <a:ext cx="955265" cy="623903"/>
      </dsp:txXfrm>
    </dsp:sp>
    <dsp:sp modelId="{3A24F69E-B741-44C0-8D91-D2BC5A280F65}">
      <dsp:nvSpPr>
        <dsp:cNvPr id="0" name=""/>
        <dsp:cNvSpPr/>
      </dsp:nvSpPr>
      <dsp:spPr>
        <a:xfrm>
          <a:off x="4818667" y="664685"/>
          <a:ext cx="323077" cy="2650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2544"/>
              </a:lnTo>
              <a:lnTo>
                <a:pt x="323077" y="132544"/>
              </a:lnTo>
              <a:lnTo>
                <a:pt x="323077" y="265089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BEA836-034E-494E-9781-ADC9FC927960}">
      <dsp:nvSpPr>
        <dsp:cNvPr id="0" name=""/>
        <dsp:cNvSpPr/>
      </dsp:nvSpPr>
      <dsp:spPr>
        <a:xfrm>
          <a:off x="4644703" y="929774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Single Sensor </a:t>
          </a:r>
          <a:r>
            <a:rPr lang="de-DE" sz="1200" kern="1200" dirty="0" err="1"/>
            <a:t>Behavior</a:t>
          </a:r>
          <a:endParaRPr lang="de-DE" sz="1200" kern="1200" dirty="0"/>
        </a:p>
      </dsp:txBody>
      <dsp:txXfrm>
        <a:off x="4664113" y="949184"/>
        <a:ext cx="955265" cy="623903"/>
      </dsp:txXfrm>
    </dsp:sp>
    <dsp:sp modelId="{04D7BF4D-B2BD-44BF-865F-1754F9327F10}">
      <dsp:nvSpPr>
        <dsp:cNvPr id="0" name=""/>
        <dsp:cNvSpPr/>
      </dsp:nvSpPr>
      <dsp:spPr>
        <a:xfrm>
          <a:off x="3849434" y="1592498"/>
          <a:ext cx="1292311" cy="265089"/>
        </a:xfrm>
        <a:custGeom>
          <a:avLst/>
          <a:gdLst/>
          <a:ahLst/>
          <a:cxnLst/>
          <a:rect l="0" t="0" r="0" b="0"/>
          <a:pathLst>
            <a:path>
              <a:moveTo>
                <a:pt x="1292311" y="0"/>
              </a:moveTo>
              <a:lnTo>
                <a:pt x="1292311" y="132544"/>
              </a:lnTo>
              <a:lnTo>
                <a:pt x="0" y="132544"/>
              </a:lnTo>
              <a:lnTo>
                <a:pt x="0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14D664-F061-4572-BC57-0D13160E9AE7}">
      <dsp:nvSpPr>
        <dsp:cNvPr id="0" name=""/>
        <dsp:cNvSpPr/>
      </dsp:nvSpPr>
      <dsp:spPr>
        <a:xfrm>
          <a:off x="3352391" y="1857588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Physical</a:t>
          </a:r>
          <a:r>
            <a:rPr lang="de-DE" sz="1200" kern="1200" dirty="0"/>
            <a:t> </a:t>
          </a:r>
          <a:r>
            <a:rPr lang="de-DE" sz="1200" kern="1200" dirty="0" err="1"/>
            <a:t>values</a:t>
          </a:r>
          <a:r>
            <a:rPr lang="de-DE" sz="1200" kern="1200" dirty="0"/>
            <a:t> out </a:t>
          </a:r>
          <a:r>
            <a:rPr lang="de-DE" sz="1200" kern="1200" dirty="0" err="1"/>
            <a:t>of</a:t>
          </a:r>
          <a:r>
            <a:rPr lang="de-DE" sz="1200" kern="1200" dirty="0"/>
            <a:t> </a:t>
          </a:r>
          <a:r>
            <a:rPr lang="de-DE" sz="1200" kern="1200" dirty="0" err="1"/>
            <a:t>bounds</a:t>
          </a:r>
          <a:endParaRPr lang="de-DE" sz="1200" kern="1200" dirty="0"/>
        </a:p>
      </dsp:txBody>
      <dsp:txXfrm>
        <a:off x="3371801" y="1876998"/>
        <a:ext cx="955265" cy="623903"/>
      </dsp:txXfrm>
    </dsp:sp>
    <dsp:sp modelId="{3419C347-AB86-4C5E-A407-DC03E967E199}">
      <dsp:nvSpPr>
        <dsp:cNvPr id="0" name=""/>
        <dsp:cNvSpPr/>
      </dsp:nvSpPr>
      <dsp:spPr>
        <a:xfrm>
          <a:off x="3803714" y="2520311"/>
          <a:ext cx="91440" cy="26508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4F25E6-BBCE-4CE1-973D-F4731EA1FB7C}">
      <dsp:nvSpPr>
        <dsp:cNvPr id="0" name=""/>
        <dsp:cNvSpPr/>
      </dsp:nvSpPr>
      <dsp:spPr>
        <a:xfrm>
          <a:off x="3352391" y="2785401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Parameter 1</a:t>
          </a:r>
        </a:p>
      </dsp:txBody>
      <dsp:txXfrm>
        <a:off x="3371801" y="2804811"/>
        <a:ext cx="955265" cy="623903"/>
      </dsp:txXfrm>
    </dsp:sp>
    <dsp:sp modelId="{56F96518-BAA9-4BE9-BC4E-79957C0BADA7}">
      <dsp:nvSpPr>
        <dsp:cNvPr id="0" name=""/>
        <dsp:cNvSpPr/>
      </dsp:nvSpPr>
      <dsp:spPr>
        <a:xfrm>
          <a:off x="3203278" y="3448125"/>
          <a:ext cx="646155" cy="265089"/>
        </a:xfrm>
        <a:custGeom>
          <a:avLst/>
          <a:gdLst/>
          <a:ahLst/>
          <a:cxnLst/>
          <a:rect l="0" t="0" r="0" b="0"/>
          <a:pathLst>
            <a:path>
              <a:moveTo>
                <a:pt x="646155" y="0"/>
              </a:moveTo>
              <a:lnTo>
                <a:pt x="646155" y="132544"/>
              </a:lnTo>
              <a:lnTo>
                <a:pt x="0" y="132544"/>
              </a:lnTo>
              <a:lnTo>
                <a:pt x="0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950D87-3B0F-4C1A-89EA-3C9582C22205}">
      <dsp:nvSpPr>
        <dsp:cNvPr id="0" name=""/>
        <dsp:cNvSpPr/>
      </dsp:nvSpPr>
      <dsp:spPr>
        <a:xfrm>
          <a:off x="2706236" y="3713214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Occurrences</a:t>
          </a:r>
          <a:endParaRPr lang="de-DE" sz="1200" kern="1200" dirty="0"/>
        </a:p>
      </dsp:txBody>
      <dsp:txXfrm>
        <a:off x="2725646" y="3732624"/>
        <a:ext cx="955265" cy="623903"/>
      </dsp:txXfrm>
    </dsp:sp>
    <dsp:sp modelId="{9BBA1BE9-EEA5-4BF4-A6AB-99416DA0B33A}">
      <dsp:nvSpPr>
        <dsp:cNvPr id="0" name=""/>
        <dsp:cNvSpPr/>
      </dsp:nvSpPr>
      <dsp:spPr>
        <a:xfrm>
          <a:off x="3849434" y="3448125"/>
          <a:ext cx="646155" cy="2650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2544"/>
              </a:lnTo>
              <a:lnTo>
                <a:pt x="646155" y="132544"/>
              </a:lnTo>
              <a:lnTo>
                <a:pt x="646155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F56E2C-CF4E-4009-8F2A-7075EA1B2E5E}">
      <dsp:nvSpPr>
        <dsp:cNvPr id="0" name=""/>
        <dsp:cNvSpPr/>
      </dsp:nvSpPr>
      <dsp:spPr>
        <a:xfrm>
          <a:off x="3998547" y="3713214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Limits</a:t>
          </a:r>
        </a:p>
      </dsp:txBody>
      <dsp:txXfrm>
        <a:off x="4017957" y="3732624"/>
        <a:ext cx="955265" cy="623903"/>
      </dsp:txXfrm>
    </dsp:sp>
    <dsp:sp modelId="{3DF9405E-A28A-4A5E-92F1-547BEB209008}">
      <dsp:nvSpPr>
        <dsp:cNvPr id="0" name=""/>
        <dsp:cNvSpPr/>
      </dsp:nvSpPr>
      <dsp:spPr>
        <a:xfrm>
          <a:off x="5096025" y="1592498"/>
          <a:ext cx="91440" cy="26508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C2F73C-3215-4EC2-96FB-6A82F34C73D5}">
      <dsp:nvSpPr>
        <dsp:cNvPr id="0" name=""/>
        <dsp:cNvSpPr/>
      </dsp:nvSpPr>
      <dsp:spPr>
        <a:xfrm>
          <a:off x="4644703" y="1857588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Amplitude out </a:t>
          </a:r>
          <a:r>
            <a:rPr lang="de-DE" sz="1200" kern="1200" dirty="0" err="1"/>
            <a:t>of</a:t>
          </a:r>
          <a:r>
            <a:rPr lang="de-DE" sz="1200" kern="1200" dirty="0"/>
            <a:t> </a:t>
          </a:r>
          <a:r>
            <a:rPr lang="de-DE" sz="1200" kern="1200" dirty="0" err="1"/>
            <a:t>bounds</a:t>
          </a:r>
          <a:endParaRPr lang="de-DE" sz="1200" kern="1200" dirty="0"/>
        </a:p>
      </dsp:txBody>
      <dsp:txXfrm>
        <a:off x="4664113" y="1876998"/>
        <a:ext cx="955265" cy="623903"/>
      </dsp:txXfrm>
    </dsp:sp>
    <dsp:sp modelId="{C1E734D0-75EF-4578-865E-083D3E3A86B4}">
      <dsp:nvSpPr>
        <dsp:cNvPr id="0" name=""/>
        <dsp:cNvSpPr/>
      </dsp:nvSpPr>
      <dsp:spPr>
        <a:xfrm>
          <a:off x="5141745" y="1592498"/>
          <a:ext cx="1292311" cy="2650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2544"/>
              </a:lnTo>
              <a:lnTo>
                <a:pt x="1292311" y="132544"/>
              </a:lnTo>
              <a:lnTo>
                <a:pt x="1292311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29D0C7-7697-4EFC-8CC7-7290495DDE89}">
      <dsp:nvSpPr>
        <dsp:cNvPr id="0" name=""/>
        <dsp:cNvSpPr/>
      </dsp:nvSpPr>
      <dsp:spPr>
        <a:xfrm>
          <a:off x="5937014" y="1857588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Sampling </a:t>
          </a:r>
          <a:r>
            <a:rPr lang="de-DE" sz="1200" kern="1200" dirty="0" err="1"/>
            <a:t>anomalous</a:t>
          </a:r>
          <a:endParaRPr lang="de-DE" sz="1200" kern="1200" dirty="0"/>
        </a:p>
      </dsp:txBody>
      <dsp:txXfrm>
        <a:off x="5956424" y="1876998"/>
        <a:ext cx="955265" cy="623903"/>
      </dsp:txXfrm>
    </dsp:sp>
    <dsp:sp modelId="{9EE950B5-69C2-412E-872A-86DFA65707F6}">
      <dsp:nvSpPr>
        <dsp:cNvPr id="0" name=""/>
        <dsp:cNvSpPr/>
      </dsp:nvSpPr>
      <dsp:spPr>
        <a:xfrm>
          <a:off x="4818667" y="664685"/>
          <a:ext cx="3553855" cy="2650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2544"/>
              </a:lnTo>
              <a:lnTo>
                <a:pt x="3553855" y="132544"/>
              </a:lnTo>
              <a:lnTo>
                <a:pt x="3553855" y="265089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5E3920-5AE3-486C-B8D8-53C51CE9F734}">
      <dsp:nvSpPr>
        <dsp:cNvPr id="0" name=""/>
        <dsp:cNvSpPr/>
      </dsp:nvSpPr>
      <dsp:spPr>
        <a:xfrm>
          <a:off x="7875481" y="929774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Level 3</a:t>
          </a:r>
        </a:p>
      </dsp:txBody>
      <dsp:txXfrm>
        <a:off x="7894891" y="949184"/>
        <a:ext cx="955265" cy="623903"/>
      </dsp:txXfrm>
    </dsp:sp>
    <dsp:sp modelId="{21B6F477-D416-4357-A8E2-AA55F9399BC6}">
      <dsp:nvSpPr>
        <dsp:cNvPr id="0" name=""/>
        <dsp:cNvSpPr/>
      </dsp:nvSpPr>
      <dsp:spPr>
        <a:xfrm>
          <a:off x="8326803" y="1592498"/>
          <a:ext cx="91440" cy="26508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38D7EC-A2FE-40ED-8E12-C92752B1D34E}">
      <dsp:nvSpPr>
        <dsp:cNvPr id="0" name=""/>
        <dsp:cNvSpPr/>
      </dsp:nvSpPr>
      <dsp:spPr>
        <a:xfrm>
          <a:off x="7875481" y="1857588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Level 3 </a:t>
          </a:r>
          <a:r>
            <a:rPr lang="de-DE" sz="1200" kern="1200" dirty="0" err="1"/>
            <a:t>hierarchy</a:t>
          </a:r>
          <a:r>
            <a:rPr lang="de-DE" sz="1200" kern="1200" dirty="0"/>
            <a:t> </a:t>
          </a:r>
        </a:p>
      </dsp:txBody>
      <dsp:txXfrm>
        <a:off x="7894891" y="1876998"/>
        <a:ext cx="955265" cy="623903"/>
      </dsp:txXfrm>
    </dsp:sp>
    <dsp:sp modelId="{28E693A8-1A93-4455-B6FD-3943171F9E6C}">
      <dsp:nvSpPr>
        <dsp:cNvPr id="0" name=""/>
        <dsp:cNvSpPr/>
      </dsp:nvSpPr>
      <dsp:spPr>
        <a:xfrm>
          <a:off x="8326803" y="2520311"/>
          <a:ext cx="91440" cy="26508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B53100-F296-4421-9030-F3DB77A94885}">
      <dsp:nvSpPr>
        <dsp:cNvPr id="0" name=""/>
        <dsp:cNvSpPr/>
      </dsp:nvSpPr>
      <dsp:spPr>
        <a:xfrm>
          <a:off x="7875481" y="2785401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1</a:t>
          </a:r>
        </a:p>
      </dsp:txBody>
      <dsp:txXfrm>
        <a:off x="7894891" y="2804811"/>
        <a:ext cx="955265" cy="623903"/>
      </dsp:txXfrm>
    </dsp:sp>
    <dsp:sp modelId="{7793581A-D626-41D7-A591-3F213C60BC4C}">
      <dsp:nvSpPr>
        <dsp:cNvPr id="0" name=""/>
        <dsp:cNvSpPr/>
      </dsp:nvSpPr>
      <dsp:spPr>
        <a:xfrm>
          <a:off x="7726368" y="3448125"/>
          <a:ext cx="646155" cy="265089"/>
        </a:xfrm>
        <a:custGeom>
          <a:avLst/>
          <a:gdLst/>
          <a:ahLst/>
          <a:cxnLst/>
          <a:rect l="0" t="0" r="0" b="0"/>
          <a:pathLst>
            <a:path>
              <a:moveTo>
                <a:pt x="646155" y="0"/>
              </a:moveTo>
              <a:lnTo>
                <a:pt x="646155" y="132544"/>
              </a:lnTo>
              <a:lnTo>
                <a:pt x="0" y="132544"/>
              </a:lnTo>
              <a:lnTo>
                <a:pt x="0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6AC2FC-C061-4D43-A65F-FB98861FB224}">
      <dsp:nvSpPr>
        <dsp:cNvPr id="0" name=""/>
        <dsp:cNvSpPr/>
      </dsp:nvSpPr>
      <dsp:spPr>
        <a:xfrm>
          <a:off x="7229325" y="3713214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Parameter 1</a:t>
          </a:r>
        </a:p>
      </dsp:txBody>
      <dsp:txXfrm>
        <a:off x="7248735" y="3732624"/>
        <a:ext cx="955265" cy="623903"/>
      </dsp:txXfrm>
    </dsp:sp>
    <dsp:sp modelId="{1DC8A2D3-6AB3-4C94-BF51-4FBD5703FBD6}">
      <dsp:nvSpPr>
        <dsp:cNvPr id="0" name=""/>
        <dsp:cNvSpPr/>
      </dsp:nvSpPr>
      <dsp:spPr>
        <a:xfrm>
          <a:off x="8372523" y="3448125"/>
          <a:ext cx="646155" cy="2650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2544"/>
              </a:lnTo>
              <a:lnTo>
                <a:pt x="646155" y="132544"/>
              </a:lnTo>
              <a:lnTo>
                <a:pt x="646155" y="265089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35C976-5B88-4561-9A7F-74697192CB5D}">
      <dsp:nvSpPr>
        <dsp:cNvPr id="0" name=""/>
        <dsp:cNvSpPr/>
      </dsp:nvSpPr>
      <dsp:spPr>
        <a:xfrm>
          <a:off x="8521636" y="3713214"/>
          <a:ext cx="994085" cy="66272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Parameter 2</a:t>
          </a:r>
        </a:p>
      </dsp:txBody>
      <dsp:txXfrm>
        <a:off x="8541046" y="3732624"/>
        <a:ext cx="955265" cy="62390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D6BC04-172F-4C40-8C56-B34AE3F795C5}">
      <dsp:nvSpPr>
        <dsp:cNvPr id="0" name=""/>
        <dsp:cNvSpPr/>
      </dsp:nvSpPr>
      <dsp:spPr>
        <a:xfrm>
          <a:off x="3840851" y="151"/>
          <a:ext cx="1717513" cy="114500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300" kern="1200" dirty="0"/>
            <a:t>SHM (Parameter)</a:t>
          </a:r>
        </a:p>
      </dsp:txBody>
      <dsp:txXfrm>
        <a:off x="3874387" y="33687"/>
        <a:ext cx="1650441" cy="1077937"/>
      </dsp:txXfrm>
    </dsp:sp>
    <dsp:sp modelId="{F195E220-437A-4530-B96E-5C03B62234DA}">
      <dsp:nvSpPr>
        <dsp:cNvPr id="0" name=""/>
        <dsp:cNvSpPr/>
      </dsp:nvSpPr>
      <dsp:spPr>
        <a:xfrm>
          <a:off x="1350456" y="1145160"/>
          <a:ext cx="3349151" cy="458003"/>
        </a:xfrm>
        <a:custGeom>
          <a:avLst/>
          <a:gdLst/>
          <a:ahLst/>
          <a:cxnLst/>
          <a:rect l="0" t="0" r="0" b="0"/>
          <a:pathLst>
            <a:path>
              <a:moveTo>
                <a:pt x="3349151" y="0"/>
              </a:moveTo>
              <a:lnTo>
                <a:pt x="3349151" y="229001"/>
              </a:lnTo>
              <a:lnTo>
                <a:pt x="0" y="229001"/>
              </a:lnTo>
              <a:lnTo>
                <a:pt x="0" y="458003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4AFA048-F0B9-41E8-8261-27F25EF55C20}">
      <dsp:nvSpPr>
        <dsp:cNvPr id="0" name=""/>
        <dsp:cNvSpPr/>
      </dsp:nvSpPr>
      <dsp:spPr>
        <a:xfrm>
          <a:off x="491699" y="1603164"/>
          <a:ext cx="1717513" cy="114500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300" kern="1200" dirty="0" err="1"/>
            <a:t>Checking</a:t>
          </a:r>
          <a:r>
            <a:rPr lang="de-DE" sz="2300" kern="1200" dirty="0"/>
            <a:t> </a:t>
          </a:r>
          <a:r>
            <a:rPr lang="de-DE" sz="2300" kern="1200" dirty="0" err="1"/>
            <a:t>range</a:t>
          </a:r>
          <a:endParaRPr lang="de-DE" sz="2300" kern="1200" dirty="0"/>
        </a:p>
      </dsp:txBody>
      <dsp:txXfrm>
        <a:off x="525235" y="1636700"/>
        <a:ext cx="1650441" cy="1077937"/>
      </dsp:txXfrm>
    </dsp:sp>
    <dsp:sp modelId="{8C0A3293-9AB5-4D4D-9F0E-671D15FB0DF1}">
      <dsp:nvSpPr>
        <dsp:cNvPr id="0" name=""/>
        <dsp:cNvSpPr/>
      </dsp:nvSpPr>
      <dsp:spPr>
        <a:xfrm>
          <a:off x="3583224" y="1145160"/>
          <a:ext cx="1116383" cy="458003"/>
        </a:xfrm>
        <a:custGeom>
          <a:avLst/>
          <a:gdLst/>
          <a:ahLst/>
          <a:cxnLst/>
          <a:rect l="0" t="0" r="0" b="0"/>
          <a:pathLst>
            <a:path>
              <a:moveTo>
                <a:pt x="1116383" y="0"/>
              </a:moveTo>
              <a:lnTo>
                <a:pt x="1116383" y="229001"/>
              </a:lnTo>
              <a:lnTo>
                <a:pt x="0" y="229001"/>
              </a:lnTo>
              <a:lnTo>
                <a:pt x="0" y="458003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F60516-A9F3-43E0-8E8F-5841CF51705B}">
      <dsp:nvSpPr>
        <dsp:cNvPr id="0" name=""/>
        <dsp:cNvSpPr/>
      </dsp:nvSpPr>
      <dsp:spPr>
        <a:xfrm>
          <a:off x="2724467" y="1603164"/>
          <a:ext cx="1717513" cy="114500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300" kern="1200" dirty="0"/>
            <a:t>Offset</a:t>
          </a:r>
        </a:p>
      </dsp:txBody>
      <dsp:txXfrm>
        <a:off x="2758003" y="1636700"/>
        <a:ext cx="1650441" cy="1077937"/>
      </dsp:txXfrm>
    </dsp:sp>
    <dsp:sp modelId="{3419C73B-BF66-499E-BA94-CC9F693860E7}">
      <dsp:nvSpPr>
        <dsp:cNvPr id="0" name=""/>
        <dsp:cNvSpPr/>
      </dsp:nvSpPr>
      <dsp:spPr>
        <a:xfrm>
          <a:off x="4699608" y="1145160"/>
          <a:ext cx="1116383" cy="4580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9001"/>
              </a:lnTo>
              <a:lnTo>
                <a:pt x="1116383" y="229001"/>
              </a:lnTo>
              <a:lnTo>
                <a:pt x="1116383" y="458003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F9E161-FE1F-403D-A1BE-848619B819B5}">
      <dsp:nvSpPr>
        <dsp:cNvPr id="0" name=""/>
        <dsp:cNvSpPr/>
      </dsp:nvSpPr>
      <dsp:spPr>
        <a:xfrm>
          <a:off x="4957235" y="1603164"/>
          <a:ext cx="1717513" cy="114500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300" kern="1200" dirty="0"/>
            <a:t>Tag</a:t>
          </a:r>
        </a:p>
      </dsp:txBody>
      <dsp:txXfrm>
        <a:off x="4990771" y="1636700"/>
        <a:ext cx="1650441" cy="1077937"/>
      </dsp:txXfrm>
    </dsp:sp>
    <dsp:sp modelId="{C209985A-1FFF-4ADA-B0EC-81031CA24642}">
      <dsp:nvSpPr>
        <dsp:cNvPr id="0" name=""/>
        <dsp:cNvSpPr/>
      </dsp:nvSpPr>
      <dsp:spPr>
        <a:xfrm>
          <a:off x="4699608" y="1145160"/>
          <a:ext cx="3349151" cy="4580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9001"/>
              </a:lnTo>
              <a:lnTo>
                <a:pt x="3349151" y="229001"/>
              </a:lnTo>
              <a:lnTo>
                <a:pt x="3349151" y="458003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A990BC-84DD-4472-8827-152B7755080B}">
      <dsp:nvSpPr>
        <dsp:cNvPr id="0" name=""/>
        <dsp:cNvSpPr/>
      </dsp:nvSpPr>
      <dsp:spPr>
        <a:xfrm>
          <a:off x="7190002" y="1603164"/>
          <a:ext cx="1717513" cy="114500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300" kern="1200" dirty="0" err="1"/>
            <a:t>Suspicious</a:t>
          </a:r>
          <a:r>
            <a:rPr lang="de-DE" sz="2300" kern="1200" dirty="0"/>
            <a:t> </a:t>
          </a:r>
          <a:r>
            <a:rPr lang="de-DE" sz="2300" kern="1200" dirty="0" err="1"/>
            <a:t>values</a:t>
          </a:r>
          <a:endParaRPr lang="de-DE" sz="2300" kern="1200" dirty="0"/>
        </a:p>
      </dsp:txBody>
      <dsp:txXfrm>
        <a:off x="7223538" y="1636700"/>
        <a:ext cx="1650441" cy="1077937"/>
      </dsp:txXfrm>
    </dsp:sp>
    <dsp:sp modelId="{F053E5D6-7748-4AEB-A7F7-5812AA0914DF}">
      <dsp:nvSpPr>
        <dsp:cNvPr id="0" name=""/>
        <dsp:cNvSpPr/>
      </dsp:nvSpPr>
      <dsp:spPr>
        <a:xfrm>
          <a:off x="6932375" y="2748173"/>
          <a:ext cx="1116383" cy="458003"/>
        </a:xfrm>
        <a:custGeom>
          <a:avLst/>
          <a:gdLst/>
          <a:ahLst/>
          <a:cxnLst/>
          <a:rect l="0" t="0" r="0" b="0"/>
          <a:pathLst>
            <a:path>
              <a:moveTo>
                <a:pt x="1116383" y="0"/>
              </a:moveTo>
              <a:lnTo>
                <a:pt x="1116383" y="229001"/>
              </a:lnTo>
              <a:lnTo>
                <a:pt x="0" y="229001"/>
              </a:lnTo>
              <a:lnTo>
                <a:pt x="0" y="458003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D799F4-512B-41F0-92E7-D1B9EBF394ED}">
      <dsp:nvSpPr>
        <dsp:cNvPr id="0" name=""/>
        <dsp:cNvSpPr/>
      </dsp:nvSpPr>
      <dsp:spPr>
        <a:xfrm>
          <a:off x="6073619" y="3206177"/>
          <a:ext cx="1717513" cy="114500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300" kern="1200" dirty="0" err="1"/>
            <a:t>Timestamp</a:t>
          </a:r>
          <a:endParaRPr lang="de-DE" sz="2300" kern="1200" dirty="0"/>
        </a:p>
      </dsp:txBody>
      <dsp:txXfrm>
        <a:off x="6107155" y="3239713"/>
        <a:ext cx="1650441" cy="1077937"/>
      </dsp:txXfrm>
    </dsp:sp>
    <dsp:sp modelId="{5055BF9E-BD21-46B2-B104-77045B1F39B4}">
      <dsp:nvSpPr>
        <dsp:cNvPr id="0" name=""/>
        <dsp:cNvSpPr/>
      </dsp:nvSpPr>
      <dsp:spPr>
        <a:xfrm>
          <a:off x="8048759" y="2748173"/>
          <a:ext cx="1116383" cy="4580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9001"/>
              </a:lnTo>
              <a:lnTo>
                <a:pt x="1116383" y="229001"/>
              </a:lnTo>
              <a:lnTo>
                <a:pt x="1116383" y="458003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625409-AA07-4064-ABC0-B45A141F704A}">
      <dsp:nvSpPr>
        <dsp:cNvPr id="0" name=""/>
        <dsp:cNvSpPr/>
      </dsp:nvSpPr>
      <dsp:spPr>
        <a:xfrm>
          <a:off x="8306386" y="3206177"/>
          <a:ext cx="1717513" cy="114500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300" kern="1200" dirty="0"/>
            <a:t>Deviation [%</a:t>
          </a:r>
          <a:r>
            <a:rPr lang="el-GR" sz="23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σ</a:t>
          </a:r>
          <a:r>
            <a:rPr lang="de-DE" sz="23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]</a:t>
          </a:r>
          <a:endParaRPr lang="de-DE" sz="2300" kern="1200" dirty="0"/>
        </a:p>
      </dsp:txBody>
      <dsp:txXfrm>
        <a:off x="8339922" y="3239713"/>
        <a:ext cx="1650441" cy="107793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5B7B05-87C6-4FFE-ADD0-F073E23C1C40}">
      <dsp:nvSpPr>
        <dsp:cNvPr id="0" name=""/>
        <dsp:cNvSpPr/>
      </dsp:nvSpPr>
      <dsp:spPr>
        <a:xfrm>
          <a:off x="0" y="0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5866AB-59EF-4F1C-8183-4FA097E2EAB2}">
      <dsp:nvSpPr>
        <dsp:cNvPr id="0" name=""/>
        <dsp:cNvSpPr/>
      </dsp:nvSpPr>
      <dsp:spPr>
        <a:xfrm>
          <a:off x="0" y="0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F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ind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0"/>
        <a:ext cx="2103120" cy="1087834"/>
      </dsp:txXfrm>
    </dsp:sp>
    <dsp:sp modelId="{07821BBB-2D49-4E58-8C52-2EFF5C42A35A}">
      <dsp:nvSpPr>
        <dsp:cNvPr id="0" name=""/>
        <dsp:cNvSpPr/>
      </dsp:nvSpPr>
      <dsp:spPr>
        <a:xfrm>
          <a:off x="2260854" y="12787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assigned</a:t>
          </a:r>
          <a:r>
            <a:rPr lang="de-DE" sz="1100" kern="1200" dirty="0"/>
            <a:t> a </a:t>
          </a:r>
          <a:r>
            <a:rPr lang="de-DE" sz="1100" kern="1200" dirty="0" err="1"/>
            <a:t>globally</a:t>
          </a:r>
          <a:r>
            <a:rPr lang="de-DE" sz="1100" kern="1200" dirty="0"/>
            <a:t> </a:t>
          </a:r>
          <a:r>
            <a:rPr lang="de-DE" sz="1100" kern="1200" dirty="0" err="1"/>
            <a:t>unique</a:t>
          </a:r>
          <a:r>
            <a:rPr lang="de-DE" sz="1100" kern="1200" dirty="0"/>
            <a:t> and persistent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12787"/>
        <a:ext cx="8254746" cy="255757"/>
      </dsp:txXfrm>
    </dsp:sp>
    <dsp:sp modelId="{9D6C9090-3449-49F3-A926-3FF41361D091}">
      <dsp:nvSpPr>
        <dsp:cNvPr id="0" name=""/>
        <dsp:cNvSpPr/>
      </dsp:nvSpPr>
      <dsp:spPr>
        <a:xfrm>
          <a:off x="2103120" y="268545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97DA48-B9FE-46D1-AC86-A5C7852C5C00}">
      <dsp:nvSpPr>
        <dsp:cNvPr id="0" name=""/>
        <dsp:cNvSpPr/>
      </dsp:nvSpPr>
      <dsp:spPr>
        <a:xfrm>
          <a:off x="2260854" y="281333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2. Data are described with rich metadata (defined by R1 below) </a:t>
          </a:r>
          <a:endParaRPr lang="en-US" sz="1100" kern="1200"/>
        </a:p>
      </dsp:txBody>
      <dsp:txXfrm>
        <a:off x="2260854" y="281333"/>
        <a:ext cx="8254746" cy="255757"/>
      </dsp:txXfrm>
    </dsp:sp>
    <dsp:sp modelId="{32C4C2CD-D417-466C-A48A-9915C567F733}">
      <dsp:nvSpPr>
        <dsp:cNvPr id="0" name=""/>
        <dsp:cNvSpPr/>
      </dsp:nvSpPr>
      <dsp:spPr>
        <a:xfrm>
          <a:off x="2103120" y="537091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059257-5205-4CD2-955D-631EE8914350}">
      <dsp:nvSpPr>
        <dsp:cNvPr id="0" name=""/>
        <dsp:cNvSpPr/>
      </dsp:nvSpPr>
      <dsp:spPr>
        <a:xfrm>
          <a:off x="2260854" y="549879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3. </a:t>
          </a:r>
          <a:r>
            <a:rPr lang="de-DE" sz="1100" kern="1200" dirty="0" err="1"/>
            <a:t>Metadata</a:t>
          </a:r>
          <a:r>
            <a:rPr lang="de-DE" sz="1100" kern="1200" dirty="0"/>
            <a:t> </a:t>
          </a:r>
          <a:r>
            <a:rPr lang="de-DE" sz="1100" kern="1200" dirty="0" err="1"/>
            <a:t>clearly</a:t>
          </a:r>
          <a:r>
            <a:rPr lang="de-DE" sz="1100" kern="1200" dirty="0"/>
            <a:t> and </a:t>
          </a:r>
          <a:r>
            <a:rPr lang="de-DE" sz="1100" kern="1200" dirty="0" err="1"/>
            <a:t>explicitly</a:t>
          </a:r>
          <a:r>
            <a:rPr lang="de-DE" sz="1100" kern="1200" dirty="0"/>
            <a:t> </a:t>
          </a:r>
          <a:r>
            <a:rPr lang="de-DE" sz="1100" kern="1200" dirty="0" err="1"/>
            <a:t>include</a:t>
          </a:r>
          <a:r>
            <a:rPr lang="de-DE" sz="1100" kern="1200" dirty="0"/>
            <a:t> </a:t>
          </a:r>
          <a:r>
            <a:rPr lang="de-DE" sz="1100" kern="1200" dirty="0" err="1"/>
            <a:t>the</a:t>
          </a:r>
          <a:r>
            <a:rPr lang="de-DE" sz="1100" kern="1200" dirty="0"/>
            <a:t>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r>
            <a:rPr lang="de-DE" sz="1100" kern="1200" dirty="0" err="1"/>
            <a:t>of</a:t>
          </a:r>
          <a:r>
            <a:rPr lang="de-DE" sz="1100" kern="1200" dirty="0"/>
            <a:t> </a:t>
          </a:r>
          <a:r>
            <a:rPr lang="de-DE" sz="1100" kern="1200" dirty="0" err="1"/>
            <a:t>the</a:t>
          </a:r>
          <a:r>
            <a:rPr lang="de-DE" sz="1100" kern="1200" dirty="0"/>
            <a:t> 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they</a:t>
          </a:r>
          <a:r>
            <a:rPr lang="de-DE" sz="1100" kern="1200" dirty="0"/>
            <a:t> </a:t>
          </a:r>
          <a:r>
            <a:rPr lang="de-DE" sz="1100" kern="1200" dirty="0" err="1"/>
            <a:t>describ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549879"/>
        <a:ext cx="8254746" cy="255757"/>
      </dsp:txXfrm>
    </dsp:sp>
    <dsp:sp modelId="{AC0F9F29-C5D4-4A83-AE67-80752EDFA98B}">
      <dsp:nvSpPr>
        <dsp:cNvPr id="0" name=""/>
        <dsp:cNvSpPr/>
      </dsp:nvSpPr>
      <dsp:spPr>
        <a:xfrm>
          <a:off x="2103120" y="805637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AA3B61-92C8-4113-A9D0-3BCE4A8064F6}">
      <dsp:nvSpPr>
        <dsp:cNvPr id="0" name=""/>
        <dsp:cNvSpPr/>
      </dsp:nvSpPr>
      <dsp:spPr>
        <a:xfrm>
          <a:off x="2260854" y="818425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4. (Meta)data are registered or indexed in a searchable resource </a:t>
          </a:r>
          <a:endParaRPr lang="en-US" sz="1100" kern="1200"/>
        </a:p>
      </dsp:txBody>
      <dsp:txXfrm>
        <a:off x="2260854" y="818425"/>
        <a:ext cx="8254746" cy="255757"/>
      </dsp:txXfrm>
    </dsp:sp>
    <dsp:sp modelId="{C986D100-647B-4493-84EB-F38F40220450}">
      <dsp:nvSpPr>
        <dsp:cNvPr id="0" name=""/>
        <dsp:cNvSpPr/>
      </dsp:nvSpPr>
      <dsp:spPr>
        <a:xfrm>
          <a:off x="2103120" y="1074183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FF0D7E-CD9B-420B-A0C0-38309E5D335A}">
      <dsp:nvSpPr>
        <dsp:cNvPr id="0" name=""/>
        <dsp:cNvSpPr/>
      </dsp:nvSpPr>
      <dsp:spPr>
        <a:xfrm>
          <a:off x="0" y="1087834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2A0BA4-0945-4E38-A261-2491ED675EC3}">
      <dsp:nvSpPr>
        <dsp:cNvPr id="0" name=""/>
        <dsp:cNvSpPr/>
      </dsp:nvSpPr>
      <dsp:spPr>
        <a:xfrm>
          <a:off x="0" y="1087834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A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ccessible</a:t>
          </a:r>
          <a:r>
            <a:rPr lang="de-DE" sz="2600" b="1" kern="1200" dirty="0">
              <a:solidFill>
                <a:schemeClr val="tx1">
                  <a:lumMod val="50000"/>
                  <a:lumOff val="50000"/>
                </a:schemeClr>
              </a:solidFill>
            </a:rPr>
            <a:t> </a:t>
          </a:r>
          <a:endParaRPr lang="en-US" sz="2600" kern="1200" dirty="0">
            <a:solidFill>
              <a:schemeClr val="tx1">
                <a:lumMod val="50000"/>
                <a:lumOff val="50000"/>
              </a:schemeClr>
            </a:solidFill>
          </a:endParaRPr>
        </a:p>
      </dsp:txBody>
      <dsp:txXfrm>
        <a:off x="0" y="1087834"/>
        <a:ext cx="2103120" cy="1087834"/>
      </dsp:txXfrm>
    </dsp:sp>
    <dsp:sp modelId="{3C6AF8C2-EAE6-4F5D-AF29-CB729CA7E604}">
      <dsp:nvSpPr>
        <dsp:cNvPr id="0" name=""/>
        <dsp:cNvSpPr/>
      </dsp:nvSpPr>
      <dsp:spPr>
        <a:xfrm>
          <a:off x="2260854" y="1100622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A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etrievable</a:t>
          </a:r>
          <a:r>
            <a:rPr lang="de-DE" sz="1100" kern="1200" dirty="0"/>
            <a:t> </a:t>
          </a:r>
          <a:r>
            <a:rPr lang="de-DE" sz="1100" kern="1200" dirty="0" err="1"/>
            <a:t>by</a:t>
          </a:r>
          <a:r>
            <a:rPr lang="de-DE" sz="1100" kern="1200" dirty="0"/>
            <a:t> </a:t>
          </a:r>
          <a:r>
            <a:rPr lang="de-DE" sz="1100" kern="1200" dirty="0" err="1"/>
            <a:t>their</a:t>
          </a:r>
          <a:r>
            <a:rPr lang="de-DE" sz="1100" kern="1200" dirty="0"/>
            <a:t>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r>
            <a:rPr lang="de-DE" sz="1100" kern="1200" dirty="0" err="1"/>
            <a:t>using</a:t>
          </a:r>
          <a:r>
            <a:rPr lang="de-DE" sz="1100" kern="1200" dirty="0"/>
            <a:t> a </a:t>
          </a:r>
          <a:r>
            <a:rPr lang="de-DE" sz="1100" kern="1200" dirty="0" err="1"/>
            <a:t>standardised</a:t>
          </a:r>
          <a:r>
            <a:rPr lang="de-DE" sz="1100" kern="1200" dirty="0"/>
            <a:t> </a:t>
          </a:r>
          <a:r>
            <a:rPr lang="de-DE" sz="1100" kern="1200" dirty="0" err="1"/>
            <a:t>communications</a:t>
          </a:r>
          <a:r>
            <a:rPr lang="de-DE" sz="1100" kern="1200" dirty="0"/>
            <a:t> </a:t>
          </a:r>
          <a:r>
            <a:rPr lang="de-DE" sz="1100" kern="1200" dirty="0" err="1"/>
            <a:t>protocol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1100622"/>
        <a:ext cx="8254746" cy="255757"/>
      </dsp:txXfrm>
    </dsp:sp>
    <dsp:sp modelId="{823C9A80-4451-4AA5-A202-E2A60B6F5DF1}">
      <dsp:nvSpPr>
        <dsp:cNvPr id="0" name=""/>
        <dsp:cNvSpPr/>
      </dsp:nvSpPr>
      <dsp:spPr>
        <a:xfrm>
          <a:off x="2103120" y="1356380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313DA8-6722-4268-A82E-41C67B4E4CF9}">
      <dsp:nvSpPr>
        <dsp:cNvPr id="0" name=""/>
        <dsp:cNvSpPr/>
      </dsp:nvSpPr>
      <dsp:spPr>
        <a:xfrm>
          <a:off x="2260854" y="1369168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1.1 The protocol is open, free, and universally implementable </a:t>
          </a:r>
          <a:endParaRPr lang="en-US" sz="1100" kern="1200"/>
        </a:p>
      </dsp:txBody>
      <dsp:txXfrm>
        <a:off x="2260854" y="1369168"/>
        <a:ext cx="8254746" cy="255757"/>
      </dsp:txXfrm>
    </dsp:sp>
    <dsp:sp modelId="{693D6E36-CE33-4BB8-97A3-2F35DA18C977}">
      <dsp:nvSpPr>
        <dsp:cNvPr id="0" name=""/>
        <dsp:cNvSpPr/>
      </dsp:nvSpPr>
      <dsp:spPr>
        <a:xfrm>
          <a:off x="2103120" y="162492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75CFF6-4EF2-48FE-98E7-F1EC74F1C883}">
      <dsp:nvSpPr>
        <dsp:cNvPr id="0" name=""/>
        <dsp:cNvSpPr/>
      </dsp:nvSpPr>
      <dsp:spPr>
        <a:xfrm>
          <a:off x="2260854" y="1637714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1.2 The protocol allows for an authentication and authorisation procedure, where necessary </a:t>
          </a:r>
          <a:endParaRPr lang="en-US" sz="1100" kern="1200"/>
        </a:p>
      </dsp:txBody>
      <dsp:txXfrm>
        <a:off x="2260854" y="1637714"/>
        <a:ext cx="8254746" cy="255757"/>
      </dsp:txXfrm>
    </dsp:sp>
    <dsp:sp modelId="{E5625D70-0D9C-4264-8180-0DBCBF16286F}">
      <dsp:nvSpPr>
        <dsp:cNvPr id="0" name=""/>
        <dsp:cNvSpPr/>
      </dsp:nvSpPr>
      <dsp:spPr>
        <a:xfrm>
          <a:off x="2103120" y="1893472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C0CCCB-48BB-46A3-8467-D508EEFC0DBF}">
      <dsp:nvSpPr>
        <dsp:cNvPr id="0" name=""/>
        <dsp:cNvSpPr/>
      </dsp:nvSpPr>
      <dsp:spPr>
        <a:xfrm>
          <a:off x="2260854" y="1906259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2. Metadata are accessible, even when the data are no longer available </a:t>
          </a:r>
          <a:endParaRPr lang="en-US" sz="1100" kern="1200"/>
        </a:p>
      </dsp:txBody>
      <dsp:txXfrm>
        <a:off x="2260854" y="1906259"/>
        <a:ext cx="8254746" cy="255757"/>
      </dsp:txXfrm>
    </dsp:sp>
    <dsp:sp modelId="{ABA0F64C-2A79-4226-88B6-5C9C388A6B8F}">
      <dsp:nvSpPr>
        <dsp:cNvPr id="0" name=""/>
        <dsp:cNvSpPr/>
      </dsp:nvSpPr>
      <dsp:spPr>
        <a:xfrm>
          <a:off x="2103120" y="2162017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5340A9-2C43-4A25-9D7A-0B0F0C1CA4EF}">
      <dsp:nvSpPr>
        <dsp:cNvPr id="0" name=""/>
        <dsp:cNvSpPr/>
      </dsp:nvSpPr>
      <dsp:spPr>
        <a:xfrm>
          <a:off x="0" y="2175669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ED8D65-2801-4CA0-9F1E-7E1443A2BC54}">
      <dsp:nvSpPr>
        <dsp:cNvPr id="0" name=""/>
        <dsp:cNvSpPr/>
      </dsp:nvSpPr>
      <dsp:spPr>
        <a:xfrm>
          <a:off x="0" y="2175669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/>
            <a:t>I</a:t>
          </a:r>
          <a:r>
            <a:rPr lang="de-DE" sz="2600" b="1" kern="1200" dirty="0">
              <a:solidFill>
                <a:schemeClr val="tx1">
                  <a:lumMod val="50000"/>
                  <a:lumOff val="50000"/>
                </a:schemeClr>
              </a:solidFill>
            </a:rPr>
            <a:t>nteroper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2175669"/>
        <a:ext cx="2103120" cy="1087834"/>
      </dsp:txXfrm>
    </dsp:sp>
    <dsp:sp modelId="{3EA9A40D-FC69-4C40-8071-B550C22A5F60}">
      <dsp:nvSpPr>
        <dsp:cNvPr id="0" name=""/>
        <dsp:cNvSpPr/>
      </dsp:nvSpPr>
      <dsp:spPr>
        <a:xfrm>
          <a:off x="2260854" y="2192666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e</a:t>
          </a:r>
          <a:r>
            <a:rPr lang="de-DE" sz="1100" kern="1200" dirty="0"/>
            <a:t> a formal, </a:t>
          </a:r>
          <a:r>
            <a:rPr lang="de-DE" sz="1100" kern="1200" dirty="0" err="1"/>
            <a:t>accessible</a:t>
          </a:r>
          <a:r>
            <a:rPr lang="de-DE" sz="1100" kern="1200" dirty="0"/>
            <a:t>, </a:t>
          </a:r>
          <a:r>
            <a:rPr lang="de-DE" sz="1100" kern="1200" dirty="0" err="1"/>
            <a:t>shared</a:t>
          </a:r>
          <a:r>
            <a:rPr lang="de-DE" sz="1100" kern="1200" dirty="0"/>
            <a:t>, and </a:t>
          </a:r>
          <a:r>
            <a:rPr lang="de-DE" sz="1100" kern="1200" dirty="0" err="1"/>
            <a:t>broadly</a:t>
          </a:r>
          <a:r>
            <a:rPr lang="de-DE" sz="1100" kern="1200" dirty="0"/>
            <a:t> </a:t>
          </a:r>
          <a:r>
            <a:rPr lang="de-DE" sz="1100" kern="1200" dirty="0" err="1"/>
            <a:t>applicable</a:t>
          </a:r>
          <a:r>
            <a:rPr lang="de-DE" sz="1100" kern="1200" dirty="0"/>
            <a:t> </a:t>
          </a:r>
          <a:r>
            <a:rPr lang="de-DE" sz="1100" kern="1200" dirty="0" err="1"/>
            <a:t>language</a:t>
          </a:r>
          <a:r>
            <a:rPr lang="de-DE" sz="1100" kern="1200" dirty="0"/>
            <a:t> </a:t>
          </a:r>
          <a:r>
            <a:rPr lang="de-DE" sz="1100" kern="1200" dirty="0" err="1"/>
            <a:t>for</a:t>
          </a:r>
          <a:r>
            <a:rPr lang="de-DE" sz="1100" kern="1200" dirty="0"/>
            <a:t> </a:t>
          </a:r>
          <a:r>
            <a:rPr lang="de-DE" sz="1100" kern="1200" dirty="0" err="1"/>
            <a:t>knowledge</a:t>
          </a:r>
          <a:r>
            <a:rPr lang="de-DE" sz="1100" kern="1200" dirty="0"/>
            <a:t> </a:t>
          </a:r>
          <a:r>
            <a:rPr lang="de-DE" sz="1100" kern="1200" dirty="0" err="1"/>
            <a:t>representation</a:t>
          </a:r>
          <a:r>
            <a:rPr lang="de-DE" sz="1100" kern="1200" dirty="0"/>
            <a:t>. </a:t>
          </a:r>
          <a:endParaRPr lang="en-US" sz="1100" kern="1200" dirty="0"/>
        </a:p>
      </dsp:txBody>
      <dsp:txXfrm>
        <a:off x="2260854" y="2192666"/>
        <a:ext cx="8254746" cy="339948"/>
      </dsp:txXfrm>
    </dsp:sp>
    <dsp:sp modelId="{67FF7D15-1CB5-4A04-B4AD-CFEB0578751F}">
      <dsp:nvSpPr>
        <dsp:cNvPr id="0" name=""/>
        <dsp:cNvSpPr/>
      </dsp:nvSpPr>
      <dsp:spPr>
        <a:xfrm>
          <a:off x="2103120" y="2532614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D85432-8A2F-4188-B4D3-4FF6B0A5AE5E}">
      <dsp:nvSpPr>
        <dsp:cNvPr id="0" name=""/>
        <dsp:cNvSpPr/>
      </dsp:nvSpPr>
      <dsp:spPr>
        <a:xfrm>
          <a:off x="2260854" y="2549612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2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e</a:t>
          </a:r>
          <a:r>
            <a:rPr lang="en-US" sz="1100" kern="1200" dirty="0"/>
            <a:t> vocabularies that follow FAIR principles</a:t>
          </a:r>
        </a:p>
      </dsp:txBody>
      <dsp:txXfrm>
        <a:off x="2260854" y="2549612"/>
        <a:ext cx="8254746" cy="339948"/>
      </dsp:txXfrm>
    </dsp:sp>
    <dsp:sp modelId="{502662D2-A353-4182-AA0D-789255AE3743}">
      <dsp:nvSpPr>
        <dsp:cNvPr id="0" name=""/>
        <dsp:cNvSpPr/>
      </dsp:nvSpPr>
      <dsp:spPr>
        <a:xfrm>
          <a:off x="2103120" y="2889560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F5590F-DF18-451E-A3A8-828A38655CD4}">
      <dsp:nvSpPr>
        <dsp:cNvPr id="0" name=""/>
        <dsp:cNvSpPr/>
      </dsp:nvSpPr>
      <dsp:spPr>
        <a:xfrm>
          <a:off x="2260854" y="2906557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3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include</a:t>
          </a:r>
          <a:r>
            <a:rPr lang="de-DE" sz="1100" kern="1200" dirty="0"/>
            <a:t> </a:t>
          </a:r>
          <a:r>
            <a:rPr lang="de-DE" sz="1100" kern="1200" dirty="0" err="1"/>
            <a:t>qualified</a:t>
          </a:r>
          <a:r>
            <a:rPr lang="de-DE" sz="1100" kern="1200" dirty="0"/>
            <a:t> </a:t>
          </a:r>
          <a:r>
            <a:rPr lang="de-DE" sz="1100" kern="1200" dirty="0" err="1"/>
            <a:t>references</a:t>
          </a:r>
          <a:r>
            <a:rPr lang="de-DE" sz="1100" kern="1200" dirty="0"/>
            <a:t> </a:t>
          </a:r>
          <a:r>
            <a:rPr lang="de-DE" sz="1100" kern="1200" dirty="0" err="1"/>
            <a:t>to</a:t>
          </a:r>
          <a:r>
            <a:rPr lang="de-DE" sz="1100" kern="1200" dirty="0"/>
            <a:t> </a:t>
          </a:r>
          <a:r>
            <a:rPr lang="de-DE" sz="1100" kern="1200" dirty="0" err="1"/>
            <a:t>other</a:t>
          </a:r>
          <a:r>
            <a:rPr lang="de-DE" sz="1100" kern="1200" dirty="0"/>
            <a:t>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2906557"/>
        <a:ext cx="8254746" cy="339948"/>
      </dsp:txXfrm>
    </dsp:sp>
    <dsp:sp modelId="{9AAA285E-9344-4C3A-B597-F6B85A90277D}">
      <dsp:nvSpPr>
        <dsp:cNvPr id="0" name=""/>
        <dsp:cNvSpPr/>
      </dsp:nvSpPr>
      <dsp:spPr>
        <a:xfrm>
          <a:off x="2103120" y="324650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865C52-0876-41B6-B10F-46627FCE0514}">
      <dsp:nvSpPr>
        <dsp:cNvPr id="0" name=""/>
        <dsp:cNvSpPr/>
      </dsp:nvSpPr>
      <dsp:spPr>
        <a:xfrm>
          <a:off x="0" y="3263503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A3B301-AE3A-46A3-B87B-F7F0B663D051}">
      <dsp:nvSpPr>
        <dsp:cNvPr id="0" name=""/>
        <dsp:cNvSpPr/>
      </dsp:nvSpPr>
      <dsp:spPr>
        <a:xfrm>
          <a:off x="0" y="3263503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R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eus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3263503"/>
        <a:ext cx="2103120" cy="1087834"/>
      </dsp:txXfrm>
    </dsp:sp>
    <dsp:sp modelId="{13482DE6-51FC-41CF-9078-04E278CCFD2C}">
      <dsp:nvSpPr>
        <dsp:cNvPr id="0" name=""/>
        <dsp:cNvSpPr/>
      </dsp:nvSpPr>
      <dsp:spPr>
        <a:xfrm>
          <a:off x="2260854" y="3276291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ichly</a:t>
          </a:r>
          <a:r>
            <a:rPr lang="de-DE" sz="1100" kern="1200" dirty="0"/>
            <a:t> </a:t>
          </a:r>
          <a:r>
            <a:rPr lang="de-DE" sz="1100" kern="1200" dirty="0" err="1"/>
            <a:t>describ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a </a:t>
          </a:r>
          <a:r>
            <a:rPr lang="de-DE" sz="1100" kern="1200" dirty="0" err="1"/>
            <a:t>plurality</a:t>
          </a:r>
          <a:r>
            <a:rPr lang="de-DE" sz="1100" kern="1200" dirty="0"/>
            <a:t> </a:t>
          </a:r>
          <a:r>
            <a:rPr lang="de-DE" sz="1100" kern="1200" dirty="0" err="1"/>
            <a:t>of</a:t>
          </a:r>
          <a:r>
            <a:rPr lang="de-DE" sz="1100" kern="1200" dirty="0"/>
            <a:t> </a:t>
          </a:r>
          <a:r>
            <a:rPr lang="de-DE" sz="1100" kern="1200" dirty="0" err="1"/>
            <a:t>accurate</a:t>
          </a:r>
          <a:r>
            <a:rPr lang="de-DE" sz="1100" kern="1200" dirty="0"/>
            <a:t> and relevant </a:t>
          </a:r>
          <a:r>
            <a:rPr lang="de-DE" sz="1100" kern="1200" dirty="0" err="1"/>
            <a:t>attributes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276291"/>
        <a:ext cx="8254746" cy="255757"/>
      </dsp:txXfrm>
    </dsp:sp>
    <dsp:sp modelId="{0F50EB08-D536-4931-BEB7-C57A44D9AB4A}">
      <dsp:nvSpPr>
        <dsp:cNvPr id="0" name=""/>
        <dsp:cNvSpPr/>
      </dsp:nvSpPr>
      <dsp:spPr>
        <a:xfrm>
          <a:off x="2103120" y="3532049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E46182-B075-43AB-869D-7B6CBFB439E1}">
      <dsp:nvSpPr>
        <dsp:cNvPr id="0" name=""/>
        <dsp:cNvSpPr/>
      </dsp:nvSpPr>
      <dsp:spPr>
        <a:xfrm>
          <a:off x="2260854" y="3544837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1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eleas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a </a:t>
          </a:r>
          <a:r>
            <a:rPr lang="de-DE" sz="1100" kern="1200" dirty="0" err="1"/>
            <a:t>clear</a:t>
          </a:r>
          <a:r>
            <a:rPr lang="de-DE" sz="1100" kern="1200" dirty="0"/>
            <a:t> and </a:t>
          </a:r>
          <a:r>
            <a:rPr lang="de-DE" sz="1100" kern="1200" dirty="0" err="1"/>
            <a:t>accessible</a:t>
          </a:r>
          <a:r>
            <a:rPr lang="de-DE" sz="1100" kern="1200" dirty="0"/>
            <a:t> 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age</a:t>
          </a:r>
          <a:r>
            <a:rPr lang="de-DE" sz="1100" kern="1200" dirty="0"/>
            <a:t> </a:t>
          </a:r>
          <a:r>
            <a:rPr lang="de-DE" sz="1100" kern="1200" dirty="0" err="1"/>
            <a:t>licens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544837"/>
        <a:ext cx="8254746" cy="255757"/>
      </dsp:txXfrm>
    </dsp:sp>
    <dsp:sp modelId="{5A444254-F6E2-4470-B18A-74737797156D}">
      <dsp:nvSpPr>
        <dsp:cNvPr id="0" name=""/>
        <dsp:cNvSpPr/>
      </dsp:nvSpPr>
      <dsp:spPr>
        <a:xfrm>
          <a:off x="2103120" y="3800595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90BBF7-6B82-4B75-8C0F-12502E9F5CDE}">
      <dsp:nvSpPr>
        <dsp:cNvPr id="0" name=""/>
        <dsp:cNvSpPr/>
      </dsp:nvSpPr>
      <dsp:spPr>
        <a:xfrm>
          <a:off x="2260854" y="3813383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2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associat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</a:t>
          </a:r>
          <a:r>
            <a:rPr lang="de-DE" sz="1100" kern="1200" dirty="0" err="1"/>
            <a:t>detailed</a:t>
          </a:r>
          <a:r>
            <a:rPr lang="de-DE" sz="1100" kern="1200" dirty="0"/>
            <a:t> </a:t>
          </a:r>
          <a:r>
            <a:rPr lang="de-DE" sz="1100" kern="1200" dirty="0" err="1"/>
            <a:t>provenanc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813383"/>
        <a:ext cx="8254746" cy="255757"/>
      </dsp:txXfrm>
    </dsp:sp>
    <dsp:sp modelId="{A4A918F2-A914-4818-810A-8E22CD36685D}">
      <dsp:nvSpPr>
        <dsp:cNvPr id="0" name=""/>
        <dsp:cNvSpPr/>
      </dsp:nvSpPr>
      <dsp:spPr>
        <a:xfrm>
          <a:off x="2103120" y="4069141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0369E6-4555-4B2A-A8A8-C84FC0C35750}">
      <dsp:nvSpPr>
        <dsp:cNvPr id="0" name=""/>
        <dsp:cNvSpPr/>
      </dsp:nvSpPr>
      <dsp:spPr>
        <a:xfrm>
          <a:off x="2260854" y="4081928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3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meet</a:t>
          </a:r>
          <a:r>
            <a:rPr lang="de-DE" sz="1100" kern="1200" dirty="0"/>
            <a:t> domain-relevant </a:t>
          </a:r>
          <a:r>
            <a:rPr lang="de-DE" sz="1100" kern="1200" dirty="0" err="1"/>
            <a:t>community</a:t>
          </a:r>
          <a:r>
            <a:rPr lang="de-DE" sz="1100" kern="1200" dirty="0"/>
            <a:t> </a:t>
          </a:r>
          <a:r>
            <a:rPr lang="de-DE" sz="1100" kern="1200" dirty="0" err="1"/>
            <a:t>standards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4081928"/>
        <a:ext cx="8254746" cy="255757"/>
      </dsp:txXfrm>
    </dsp:sp>
    <dsp:sp modelId="{1E0B6678-EAA4-4395-8BEC-0A2548AB70B8}">
      <dsp:nvSpPr>
        <dsp:cNvPr id="0" name=""/>
        <dsp:cNvSpPr/>
      </dsp:nvSpPr>
      <dsp:spPr>
        <a:xfrm>
          <a:off x="2103120" y="433768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3D78ED-6118-4448-85C5-3649C6460D9D}">
      <dsp:nvSpPr>
        <dsp:cNvPr id="0" name=""/>
        <dsp:cNvSpPr/>
      </dsp:nvSpPr>
      <dsp:spPr>
        <a:xfrm>
          <a:off x="2360695" y="4115424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5850" y="0"/>
              </a:lnTo>
              <a:lnTo>
                <a:pt x="145850" y="555833"/>
              </a:lnTo>
              <a:lnTo>
                <a:pt x="291701" y="55583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4377647"/>
        <a:ext cx="31386" cy="31386"/>
      </dsp:txXfrm>
    </dsp:sp>
    <dsp:sp modelId="{5C5849B0-0D1C-4FA3-AC10-12B164FB617E}">
      <dsp:nvSpPr>
        <dsp:cNvPr id="0" name=""/>
        <dsp:cNvSpPr/>
      </dsp:nvSpPr>
      <dsp:spPr>
        <a:xfrm>
          <a:off x="2360695" y="4069704"/>
          <a:ext cx="29170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1701" y="4572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9253" y="4108131"/>
        <a:ext cx="14585" cy="14585"/>
      </dsp:txXfrm>
    </dsp:sp>
    <dsp:sp modelId="{5960513F-EE2B-4181-A374-AB2777448E61}">
      <dsp:nvSpPr>
        <dsp:cNvPr id="0" name=""/>
        <dsp:cNvSpPr/>
      </dsp:nvSpPr>
      <dsp:spPr>
        <a:xfrm>
          <a:off x="2360695" y="3559591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555833"/>
              </a:moveTo>
              <a:lnTo>
                <a:pt x="145850" y="555833"/>
              </a:lnTo>
              <a:lnTo>
                <a:pt x="145850" y="0"/>
              </a:lnTo>
              <a:lnTo>
                <a:pt x="291701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3821814"/>
        <a:ext cx="31386" cy="31386"/>
      </dsp:txXfrm>
    </dsp:sp>
    <dsp:sp modelId="{F733F054-5A15-447F-8E52-7A9CDB808D03}">
      <dsp:nvSpPr>
        <dsp:cNvPr id="0" name=""/>
        <dsp:cNvSpPr/>
      </dsp:nvSpPr>
      <dsp:spPr>
        <a:xfrm>
          <a:off x="610488" y="2447925"/>
          <a:ext cx="291701" cy="16674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5850" y="0"/>
              </a:lnTo>
              <a:lnTo>
                <a:pt x="145850" y="1667499"/>
              </a:lnTo>
              <a:lnTo>
                <a:pt x="291701" y="166749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600" kern="1200"/>
        </a:p>
      </dsp:txBody>
      <dsp:txXfrm>
        <a:off x="714018" y="3239354"/>
        <a:ext cx="84641" cy="84641"/>
      </dsp:txXfrm>
    </dsp:sp>
    <dsp:sp modelId="{45C894BC-9694-4D81-BF1B-4A730626DAA4}">
      <dsp:nvSpPr>
        <dsp:cNvPr id="0" name=""/>
        <dsp:cNvSpPr/>
      </dsp:nvSpPr>
      <dsp:spPr>
        <a:xfrm>
          <a:off x="2360695" y="2447925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5850" y="0"/>
              </a:lnTo>
              <a:lnTo>
                <a:pt x="145850" y="555833"/>
              </a:lnTo>
              <a:lnTo>
                <a:pt x="291701" y="55583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2710148"/>
        <a:ext cx="31386" cy="31386"/>
      </dsp:txXfrm>
    </dsp:sp>
    <dsp:sp modelId="{91BFE216-B3E2-4DE1-A461-9CF78F0FD570}">
      <dsp:nvSpPr>
        <dsp:cNvPr id="0" name=""/>
        <dsp:cNvSpPr/>
      </dsp:nvSpPr>
      <dsp:spPr>
        <a:xfrm>
          <a:off x="2360695" y="2402205"/>
          <a:ext cx="29170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1701" y="4572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9253" y="2440632"/>
        <a:ext cx="14585" cy="14585"/>
      </dsp:txXfrm>
    </dsp:sp>
    <dsp:sp modelId="{E133D424-9E7D-49FC-903B-275E1F25F124}">
      <dsp:nvSpPr>
        <dsp:cNvPr id="0" name=""/>
        <dsp:cNvSpPr/>
      </dsp:nvSpPr>
      <dsp:spPr>
        <a:xfrm>
          <a:off x="2360695" y="1892091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555833"/>
              </a:moveTo>
              <a:lnTo>
                <a:pt x="145850" y="555833"/>
              </a:lnTo>
              <a:lnTo>
                <a:pt x="145850" y="0"/>
              </a:lnTo>
              <a:lnTo>
                <a:pt x="291701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2154315"/>
        <a:ext cx="31386" cy="31386"/>
      </dsp:txXfrm>
    </dsp:sp>
    <dsp:sp modelId="{8928A7E9-CDD8-4F1B-BBB4-C07BA8314112}">
      <dsp:nvSpPr>
        <dsp:cNvPr id="0" name=""/>
        <dsp:cNvSpPr/>
      </dsp:nvSpPr>
      <dsp:spPr>
        <a:xfrm>
          <a:off x="610488" y="2402205"/>
          <a:ext cx="29170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1701" y="4572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749046" y="2440632"/>
        <a:ext cx="14585" cy="14585"/>
      </dsp:txXfrm>
    </dsp:sp>
    <dsp:sp modelId="{96CB63D9-7018-45B0-B99B-7A371EA7C2A8}">
      <dsp:nvSpPr>
        <dsp:cNvPr id="0" name=""/>
        <dsp:cNvSpPr/>
      </dsp:nvSpPr>
      <dsp:spPr>
        <a:xfrm>
          <a:off x="2360695" y="780425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5850" y="0"/>
              </a:lnTo>
              <a:lnTo>
                <a:pt x="145850" y="555833"/>
              </a:lnTo>
              <a:lnTo>
                <a:pt x="291701" y="55583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1042648"/>
        <a:ext cx="31386" cy="31386"/>
      </dsp:txXfrm>
    </dsp:sp>
    <dsp:sp modelId="{FFFDB243-4505-44F2-BB85-C74F3C8DE599}">
      <dsp:nvSpPr>
        <dsp:cNvPr id="0" name=""/>
        <dsp:cNvSpPr/>
      </dsp:nvSpPr>
      <dsp:spPr>
        <a:xfrm>
          <a:off x="2360695" y="734705"/>
          <a:ext cx="29170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1701" y="4572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9253" y="773132"/>
        <a:ext cx="14585" cy="14585"/>
      </dsp:txXfrm>
    </dsp:sp>
    <dsp:sp modelId="{5E13931A-9AAF-4B45-9CFF-59C19939BCA2}">
      <dsp:nvSpPr>
        <dsp:cNvPr id="0" name=""/>
        <dsp:cNvSpPr/>
      </dsp:nvSpPr>
      <dsp:spPr>
        <a:xfrm>
          <a:off x="2360695" y="224592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555833"/>
              </a:moveTo>
              <a:lnTo>
                <a:pt x="145850" y="555833"/>
              </a:lnTo>
              <a:lnTo>
                <a:pt x="145850" y="0"/>
              </a:lnTo>
              <a:lnTo>
                <a:pt x="291701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486815"/>
        <a:ext cx="31386" cy="31386"/>
      </dsp:txXfrm>
    </dsp:sp>
    <dsp:sp modelId="{B86FC023-5AA5-4F78-9297-CD6F60BE57CD}">
      <dsp:nvSpPr>
        <dsp:cNvPr id="0" name=""/>
        <dsp:cNvSpPr/>
      </dsp:nvSpPr>
      <dsp:spPr>
        <a:xfrm>
          <a:off x="610488" y="780425"/>
          <a:ext cx="291701" cy="1667499"/>
        </a:xfrm>
        <a:custGeom>
          <a:avLst/>
          <a:gdLst/>
          <a:ahLst/>
          <a:cxnLst/>
          <a:rect l="0" t="0" r="0" b="0"/>
          <a:pathLst>
            <a:path>
              <a:moveTo>
                <a:pt x="0" y="1667499"/>
              </a:moveTo>
              <a:lnTo>
                <a:pt x="145850" y="1667499"/>
              </a:lnTo>
              <a:lnTo>
                <a:pt x="145850" y="0"/>
              </a:lnTo>
              <a:lnTo>
                <a:pt x="29170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600" kern="1200"/>
        </a:p>
      </dsp:txBody>
      <dsp:txXfrm>
        <a:off x="714018" y="1571854"/>
        <a:ext cx="84641" cy="84641"/>
      </dsp:txXfrm>
    </dsp:sp>
    <dsp:sp modelId="{15AF63BF-097D-4EBC-B611-17C29F23CA05}">
      <dsp:nvSpPr>
        <dsp:cNvPr id="0" name=""/>
        <dsp:cNvSpPr/>
      </dsp:nvSpPr>
      <dsp:spPr>
        <a:xfrm rot="16200000">
          <a:off x="-869139" y="2225591"/>
          <a:ext cx="2514589" cy="444666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kern="1200" dirty="0"/>
            <a:t>ISTAR Digital Twin</a:t>
          </a:r>
        </a:p>
      </dsp:txBody>
      <dsp:txXfrm>
        <a:off x="-869139" y="2225591"/>
        <a:ext cx="2514589" cy="444666"/>
      </dsp:txXfrm>
    </dsp:sp>
    <dsp:sp modelId="{24B062D9-891F-4673-9275-E4F62730D662}">
      <dsp:nvSpPr>
        <dsp:cNvPr id="0" name=""/>
        <dsp:cNvSpPr/>
      </dsp:nvSpPr>
      <dsp:spPr>
        <a:xfrm>
          <a:off x="902189" y="558092"/>
          <a:ext cx="1458506" cy="444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Aircraft Internal Data</a:t>
          </a:r>
        </a:p>
      </dsp:txBody>
      <dsp:txXfrm>
        <a:off x="902189" y="558092"/>
        <a:ext cx="1458506" cy="444666"/>
      </dsp:txXfrm>
    </dsp:sp>
    <dsp:sp modelId="{56A15159-5AC9-410E-B263-A510A2432B32}">
      <dsp:nvSpPr>
        <dsp:cNvPr id="0" name=""/>
        <dsp:cNvSpPr/>
      </dsp:nvSpPr>
      <dsp:spPr>
        <a:xfrm>
          <a:off x="2652397" y="2259"/>
          <a:ext cx="1458506" cy="444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Basic Measurement Equipment (AC Data Bus)</a:t>
          </a:r>
        </a:p>
      </dsp:txBody>
      <dsp:txXfrm>
        <a:off x="2652397" y="2259"/>
        <a:ext cx="1458506" cy="444666"/>
      </dsp:txXfrm>
    </dsp:sp>
    <dsp:sp modelId="{8DA5CF6A-7F14-436D-A4E3-44796FC9C617}">
      <dsp:nvSpPr>
        <dsp:cNvPr id="0" name=""/>
        <dsp:cNvSpPr/>
      </dsp:nvSpPr>
      <dsp:spPr>
        <a:xfrm>
          <a:off x="2652397" y="558092"/>
          <a:ext cx="1458506" cy="444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 err="1"/>
            <a:t>Nose</a:t>
          </a:r>
          <a:r>
            <a:rPr lang="de-DE" sz="1100" kern="1200" dirty="0"/>
            <a:t> Boom</a:t>
          </a:r>
        </a:p>
      </dsp:txBody>
      <dsp:txXfrm>
        <a:off x="2652397" y="558092"/>
        <a:ext cx="1458506" cy="444666"/>
      </dsp:txXfrm>
    </dsp:sp>
    <dsp:sp modelId="{EBB44A27-D449-4FAA-9A43-3634DCD01467}">
      <dsp:nvSpPr>
        <dsp:cNvPr id="0" name=""/>
        <dsp:cNvSpPr/>
      </dsp:nvSpPr>
      <dsp:spPr>
        <a:xfrm>
          <a:off x="2652397" y="1113925"/>
          <a:ext cx="1458506" cy="444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 err="1"/>
            <a:t>Aerolastic</a:t>
          </a:r>
          <a:r>
            <a:rPr lang="de-DE" sz="1100" kern="1200" dirty="0"/>
            <a:t> Sensor System</a:t>
          </a:r>
        </a:p>
      </dsp:txBody>
      <dsp:txXfrm>
        <a:off x="2652397" y="1113925"/>
        <a:ext cx="1458506" cy="444666"/>
      </dsp:txXfrm>
    </dsp:sp>
    <dsp:sp modelId="{7AAD6E8A-D1AC-4C73-8EAC-42C29479C60D}">
      <dsp:nvSpPr>
        <dsp:cNvPr id="0" name=""/>
        <dsp:cNvSpPr/>
      </dsp:nvSpPr>
      <dsp:spPr>
        <a:xfrm>
          <a:off x="902189" y="2225591"/>
          <a:ext cx="1458506" cy="444666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DLR Internal Data</a:t>
          </a:r>
        </a:p>
      </dsp:txBody>
      <dsp:txXfrm>
        <a:off x="902189" y="2225591"/>
        <a:ext cx="1458506" cy="444666"/>
      </dsp:txXfrm>
    </dsp:sp>
    <dsp:sp modelId="{1FA15DBF-B50F-4019-9FFC-32C7F856B55A}">
      <dsp:nvSpPr>
        <dsp:cNvPr id="0" name=""/>
        <dsp:cNvSpPr/>
      </dsp:nvSpPr>
      <dsp:spPr>
        <a:xfrm>
          <a:off x="2652397" y="1669758"/>
          <a:ext cx="1458506" cy="444666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CAMO</a:t>
          </a:r>
        </a:p>
      </dsp:txBody>
      <dsp:txXfrm>
        <a:off x="2652397" y="1669758"/>
        <a:ext cx="1458506" cy="444666"/>
      </dsp:txXfrm>
    </dsp:sp>
    <dsp:sp modelId="{58DAF8C7-763E-421D-B937-2AA3327D22B4}">
      <dsp:nvSpPr>
        <dsp:cNvPr id="0" name=""/>
        <dsp:cNvSpPr/>
      </dsp:nvSpPr>
      <dsp:spPr>
        <a:xfrm>
          <a:off x="2652397" y="2225591"/>
          <a:ext cx="1458506" cy="444666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3D Scan (</a:t>
          </a:r>
          <a:r>
            <a:rPr lang="de-DE" sz="1100" kern="1200" dirty="0" err="1"/>
            <a:t>Cabin</a:t>
          </a:r>
          <a:r>
            <a:rPr lang="de-DE" sz="1100" kern="1200" dirty="0"/>
            <a:t> &amp; Aircraft)</a:t>
          </a:r>
        </a:p>
      </dsp:txBody>
      <dsp:txXfrm>
        <a:off x="2652397" y="2225591"/>
        <a:ext cx="1458506" cy="444666"/>
      </dsp:txXfrm>
    </dsp:sp>
    <dsp:sp modelId="{DD3D897A-6B6E-4AA3-A9FD-14CE57662DE3}">
      <dsp:nvSpPr>
        <dsp:cNvPr id="0" name=""/>
        <dsp:cNvSpPr/>
      </dsp:nvSpPr>
      <dsp:spPr>
        <a:xfrm>
          <a:off x="2652397" y="2781424"/>
          <a:ext cx="1458506" cy="444666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light Test Plans</a:t>
          </a:r>
        </a:p>
      </dsp:txBody>
      <dsp:txXfrm>
        <a:off x="2652397" y="2781424"/>
        <a:ext cx="1458506" cy="444666"/>
      </dsp:txXfrm>
    </dsp:sp>
    <dsp:sp modelId="{BECF1E3F-BC6F-4A7D-AE0D-97FF8FE78196}">
      <dsp:nvSpPr>
        <dsp:cNvPr id="0" name=""/>
        <dsp:cNvSpPr/>
      </dsp:nvSpPr>
      <dsp:spPr>
        <a:xfrm>
          <a:off x="902189" y="3893091"/>
          <a:ext cx="1458506" cy="444666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>
              <a:solidFill>
                <a:schemeClr val="tx1"/>
              </a:solidFill>
            </a:rPr>
            <a:t>DLR External Data</a:t>
          </a:r>
        </a:p>
      </dsp:txBody>
      <dsp:txXfrm>
        <a:off x="902189" y="3893091"/>
        <a:ext cx="1458506" cy="444666"/>
      </dsp:txXfrm>
    </dsp:sp>
    <dsp:sp modelId="{6C832B41-8D46-4FC6-8B9E-56C0780A9437}">
      <dsp:nvSpPr>
        <dsp:cNvPr id="0" name=""/>
        <dsp:cNvSpPr/>
      </dsp:nvSpPr>
      <dsp:spPr>
        <a:xfrm>
          <a:off x="2652397" y="3337258"/>
          <a:ext cx="1458506" cy="444666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 err="1">
              <a:solidFill>
                <a:schemeClr val="tx1"/>
              </a:solidFill>
            </a:rPr>
            <a:t>Surrounding</a:t>
          </a:r>
          <a:r>
            <a:rPr lang="de-DE" sz="1100" kern="1200" dirty="0">
              <a:solidFill>
                <a:schemeClr val="tx1"/>
              </a:solidFill>
            </a:rPr>
            <a:t> </a:t>
          </a:r>
          <a:br>
            <a:rPr lang="de-DE" sz="1100" kern="1200" dirty="0">
              <a:solidFill>
                <a:schemeClr val="tx1"/>
              </a:solidFill>
            </a:rPr>
          </a:br>
          <a:r>
            <a:rPr lang="de-DE" sz="1100" kern="1200" dirty="0">
              <a:solidFill>
                <a:schemeClr val="tx1"/>
              </a:solidFill>
            </a:rPr>
            <a:t>Traffic (ADS-B)</a:t>
          </a:r>
        </a:p>
      </dsp:txBody>
      <dsp:txXfrm>
        <a:off x="2652397" y="3337258"/>
        <a:ext cx="1458506" cy="444666"/>
      </dsp:txXfrm>
    </dsp:sp>
    <dsp:sp modelId="{1C4E7CBD-A5F5-4AED-8EC5-F8E3159341E9}">
      <dsp:nvSpPr>
        <dsp:cNvPr id="0" name=""/>
        <dsp:cNvSpPr/>
      </dsp:nvSpPr>
      <dsp:spPr>
        <a:xfrm>
          <a:off x="2652397" y="3893091"/>
          <a:ext cx="1458506" cy="444666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 err="1">
              <a:solidFill>
                <a:schemeClr val="tx1"/>
              </a:solidFill>
            </a:rPr>
            <a:t>Weather</a:t>
          </a:r>
          <a:r>
            <a:rPr lang="de-DE" sz="1100" kern="1200" dirty="0">
              <a:solidFill>
                <a:schemeClr val="tx1"/>
              </a:solidFill>
            </a:rPr>
            <a:t> (ECMWF, </a:t>
          </a:r>
          <a:r>
            <a:rPr lang="de-DE" sz="1100" kern="1200" dirty="0" err="1">
              <a:solidFill>
                <a:schemeClr val="tx1"/>
              </a:solidFill>
            </a:rPr>
            <a:t>Metar</a:t>
          </a:r>
          <a:r>
            <a:rPr lang="de-DE" sz="1100" kern="1200" dirty="0">
              <a:solidFill>
                <a:schemeClr val="tx1"/>
              </a:solidFill>
            </a:rPr>
            <a:t>)</a:t>
          </a:r>
        </a:p>
      </dsp:txBody>
      <dsp:txXfrm>
        <a:off x="2652397" y="3893091"/>
        <a:ext cx="1458506" cy="444666"/>
      </dsp:txXfrm>
    </dsp:sp>
    <dsp:sp modelId="{D42BB064-6B09-4205-9336-2170F4C1FED7}">
      <dsp:nvSpPr>
        <dsp:cNvPr id="0" name=""/>
        <dsp:cNvSpPr/>
      </dsp:nvSpPr>
      <dsp:spPr>
        <a:xfrm>
          <a:off x="2652397" y="4448924"/>
          <a:ext cx="1458506" cy="444666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>
              <a:solidFill>
                <a:schemeClr val="tx1"/>
              </a:solidFill>
            </a:rPr>
            <a:t>Manufacturing Data (CAD)</a:t>
          </a:r>
        </a:p>
      </dsp:txBody>
      <dsp:txXfrm>
        <a:off x="2652397" y="4448924"/>
        <a:ext cx="1458506" cy="4446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r">
              <a:defRPr sz="1800"/>
            </a:lvl1pPr>
          </a:lstStyle>
          <a:p>
            <a:fld id="{ADB3A5E3-9D61-4D7B-8FB1-DFF7E31CD570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58813" y="1793875"/>
            <a:ext cx="8609012" cy="4843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33" tIns="69366" rIns="138733" bIns="6936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4" y="6907183"/>
            <a:ext cx="7941310" cy="5651332"/>
          </a:xfrm>
          <a:prstGeom prst="rect">
            <a:avLst/>
          </a:prstGeom>
        </p:spPr>
        <p:txBody>
          <a:bodyPr vert="horz" lIns="138733" tIns="69366" rIns="138733" bIns="69366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8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r">
              <a:defRPr sz="1800"/>
            </a:lvl1pPr>
          </a:lstStyle>
          <a:p>
            <a:fld id="{BF33083C-6BFE-4A58-80B1-64F3352F0A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9437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2155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2746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FABE68-0F39-4863-8D06-252114A360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263BE2B-FDAF-417C-9FEF-95DA6C49A5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A06A0B-EF4C-4071-A318-28618A2CC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21A93F-E5E8-4C1D-ABF3-AF164BD34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BFAFD2-E3A0-4AF6-BDC3-3FABA6954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6577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9ECF3B-A105-4C22-91EB-3909249F4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9676643-3A36-4B7B-B76C-A1B440F639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421D97C-558B-49C1-BA81-34398B45E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8299652-B966-4445-B9F4-6A360BEF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53A6DA-C3EB-428D-BF40-6888EA88B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6349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F68A70D-6059-415B-9609-0F3366D76B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192D106-0A77-4CF7-840C-CFB3AB57CD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20D60C-04E2-4731-8E29-01CDBF0EA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F9B74D-0FFD-43CE-908C-7FBFC3554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152545-F471-4E48-8B63-6512B6464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144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778C3-2079-4DB7-853F-076F5FF23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700C7-61C9-4490-B473-3185943614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EACD044-01EC-4F11-B1BD-497550516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2B7B25-045B-47DE-936A-5951AF9F3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C2321F-74E0-48C0-8AFF-97333A594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8045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EC5BE7-7012-4FBE-9558-40303A3B8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73E8B7-3692-4679-AB71-E1B5FFFF4B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E54401-0848-4D4B-A491-517D2CC419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E51C22-4E25-48E3-AE44-6EA52E030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142C7D-A346-43CD-8397-9F424540D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83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EEE928-2EA5-454A-AF2F-EC2F6B875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C67297-4D7F-4CB4-B727-CE4605E9BB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E4EEA4A-EC18-4AAC-B8B6-1C52597489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AB97-4A90-446F-BCED-7490C69DD4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3FA8214-FC9C-4555-823D-96240821E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6525DC1-1F2D-4D05-BF58-9EB10337F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0096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CA4C1D-63F5-4296-BF87-7C68D0906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29304A-2E01-4674-A1F1-255135E809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B53EA06-872A-4984-87B6-5005FD123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B650B5-148D-4D65-B6D1-529E850092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3746C1C-78E5-42FD-93A4-5F2DB4F6B9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87F411F-748F-4F62-9CED-1433C4A34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52FDF90-7027-4310-8EC4-15CBADECFB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228BC5-BCA0-4AF7-A3D4-3E85DB554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00811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6FACAC-C522-40E9-9437-6327976F7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7E9C9B7-D4B0-4BB6-9121-EA67EF2F9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29A1D9-8C1C-4AF5-A4E7-9107FBC0D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A17331-5215-47EE-B0DC-EF58B1688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4349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5374FA1-614E-403A-AD04-8F34C4998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04C585-5FD9-4C99-94FC-A4EA8308E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AEF5F9-115B-4E5A-B929-2E32C1787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6596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167671-96A5-4925-A576-15D63E13B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6FA056-66D7-489F-BF14-D436A8B444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813F23-9024-4E8B-BE57-F955BDB756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1C8F3CB-1B13-4304-8E49-8830DF2FA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D89B2F8-95F9-46CC-9D16-65AC89033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CC2693F-01E1-4E34-9E5F-2B2D208E1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81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039B5-88DD-4FFD-8D3C-36F57C98F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E05BD9A-C4DC-4358-A373-CC4DDAE8DB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F165FB-C8AD-4985-9E1E-A56737EBD6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84BAB5E-B1BD-4640-AE13-7A83A7158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D567DD-CF25-416E-BCA4-7BF6D435C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AD0C3C8-CD4D-450B-9C45-022468D9D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9382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4327415-7C24-4A21-AA70-1B4BA28B3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198538-6F40-4C35-A613-B7AC014DA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87A05E-1BE7-4EA8-A2EB-62A508752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AF5A7-074E-4464-B39C-B9F232C32D5A}" type="datetimeFigureOut">
              <a:rPr lang="de-DE" smtClean="0"/>
              <a:t>08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6BC6CA-2015-4E56-AAE4-D3802B1BB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0CF445-0E65-47F1-9EDD-4DE2842D4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4979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0850E-2165-405C-86D6-006480251E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AIR Sensor Health Monitoring of Flight Test Data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DC235DA-500C-4AD7-82AA-6A78640453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05186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D16A30-3BC5-430E-9BAF-48BB7D851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C95CB67F-92A5-45BC-B9C0-FA310B28B9A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91382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612196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30AEB9-35D4-42B3-860B-74591C081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5FD51C-1CF0-4CDF-84E2-532E2F5364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de-DE" dirty="0"/>
              <a:t>Possible Sensor Errors (Flugführung, </a:t>
            </a:r>
          </a:p>
          <a:p>
            <a:r>
              <a:rPr lang="de-DE" dirty="0"/>
              <a:t>ISTAR Imag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ensors</a:t>
            </a:r>
            <a:endParaRPr lang="de-DE" dirty="0"/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4A3DE39-A47E-4742-8EE8-335431BA1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9086" y="3429000"/>
            <a:ext cx="2133311" cy="1268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4444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C9755-5CEB-444E-8AE8-3FCA3E653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de-DE" dirty="0"/>
              <a:t>Problem State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7375D5-F574-4589-B859-C4338E397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Luenberger</a:t>
            </a:r>
            <a:r>
              <a:rPr lang="de-DE" dirty="0"/>
              <a:t> Beobachter</a:t>
            </a:r>
          </a:p>
          <a:p>
            <a:r>
              <a:rPr lang="de-DE" dirty="0"/>
              <a:t>Grey: </a:t>
            </a:r>
            <a:r>
              <a:rPr lang="de-DE" dirty="0" err="1"/>
              <a:t>state</a:t>
            </a:r>
            <a:r>
              <a:rPr lang="de-DE" dirty="0"/>
              <a:t>, </a:t>
            </a:r>
            <a:r>
              <a:rPr lang="de-DE" dirty="0" err="1"/>
              <a:t>red</a:t>
            </a:r>
            <a:r>
              <a:rPr lang="de-DE" dirty="0"/>
              <a:t>: </a:t>
            </a:r>
            <a:r>
              <a:rPr lang="de-DE" dirty="0" err="1"/>
              <a:t>sensor</a:t>
            </a:r>
            <a:r>
              <a:rPr lang="de-DE" dirty="0"/>
              <a:t> </a:t>
            </a:r>
            <a:r>
              <a:rPr lang="de-DE" dirty="0" err="1"/>
              <a:t>value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1CE78D1-B116-44BE-8B7E-B9D00F3B4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6955" y="1561216"/>
            <a:ext cx="3317865" cy="1479727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AAD4701-7572-4896-A3F8-B7DBC1196B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0914" y="3252083"/>
            <a:ext cx="3709946" cy="246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6594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9C4C3E-7CDF-4DA3-9A68-844C3C732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5F4347-AA14-4038-9D4B-019CC3E13A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4" name="Inhaltsplatzhalter 4">
            <a:extLst>
              <a:ext uri="{FF2B5EF4-FFF2-40B4-BE49-F238E27FC236}">
                <a16:creationId xmlns:a16="http://schemas.microsoft.com/office/drawing/2014/main" id="{B18FE679-250E-42B0-84D2-FB9536FBBD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2590962"/>
              </p:ext>
            </p:extLst>
          </p:nvPr>
        </p:nvGraphicFramePr>
        <p:xfrm>
          <a:off x="3957637" y="981075"/>
          <a:ext cx="4276725" cy="4895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682129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034781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90322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541243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524112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BB42E0-201E-4CF8-BDCA-E02518C51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B7B6AC-6F3D-4793-9921-550185D09C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ctr"/>
            <a:r>
              <a:rPr lang="de-DE" dirty="0"/>
              <a:t>Intro</a:t>
            </a:r>
          </a:p>
          <a:p>
            <a:pPr fontAlgn="ctr"/>
            <a:r>
              <a:rPr lang="de-DE" dirty="0"/>
              <a:t>Theory/</a:t>
            </a:r>
            <a:r>
              <a:rPr lang="de-DE" dirty="0" err="1"/>
              <a:t>Literature</a:t>
            </a:r>
            <a:r>
              <a:rPr lang="de-DE" dirty="0"/>
              <a:t> Review (mittelfeine Darstellung)</a:t>
            </a:r>
          </a:p>
          <a:p>
            <a:pPr fontAlgn="ctr"/>
            <a:r>
              <a:rPr lang="de-DE" dirty="0"/>
              <a:t>Problem </a:t>
            </a:r>
            <a:r>
              <a:rPr lang="de-DE" dirty="0" err="1"/>
              <a:t>statement</a:t>
            </a:r>
            <a:endParaRPr lang="de-DE" dirty="0"/>
          </a:p>
          <a:p>
            <a:pPr fontAlgn="ctr"/>
            <a:r>
              <a:rPr lang="de-DE" dirty="0"/>
              <a:t>Methods</a:t>
            </a:r>
          </a:p>
          <a:p>
            <a:pPr fontAlgn="ctr"/>
            <a:r>
              <a:rPr lang="de-DE" dirty="0"/>
              <a:t>(Implementation)</a:t>
            </a:r>
          </a:p>
          <a:p>
            <a:pPr fontAlgn="ctr"/>
            <a:r>
              <a:rPr lang="de-DE" dirty="0" err="1"/>
              <a:t>Results</a:t>
            </a:r>
            <a:endParaRPr lang="de-DE" dirty="0"/>
          </a:p>
          <a:p>
            <a:pPr fontAlgn="ctr"/>
            <a:r>
              <a:rPr lang="de-DE" dirty="0" err="1"/>
              <a:t>Discussion</a:t>
            </a:r>
            <a:endParaRPr lang="de-DE" dirty="0"/>
          </a:p>
          <a:p>
            <a:pPr fontAlgn="ctr"/>
            <a:r>
              <a:rPr lang="de-DE" dirty="0" err="1"/>
              <a:t>Conclusion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22457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B7626D-2D31-4AF9-B3FB-8601A6D56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ro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B275ACC-32F7-42E6-B2ED-DA84C0875C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407992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428175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4FFD3-2B84-47B0-A79D-440D46104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nsor Health Monitoring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.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fuses</a:t>
            </a:r>
            <a:r>
              <a:rPr lang="de-DE" dirty="0"/>
              <a:t> Sensor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A809E130-D853-41A3-B9D1-8D812B20395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148683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91815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5C7B0F-7491-4329-9F78-A94DE4929D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5CF5BE8B-AE0A-4450-AB38-C3F089E791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6750358"/>
              </p:ext>
            </p:extLst>
          </p:nvPr>
        </p:nvGraphicFramePr>
        <p:xfrm>
          <a:off x="1429732" y="1951463"/>
          <a:ext cx="9637336" cy="4377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623533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AADACB-6A1A-45DE-A1DC-D011A18727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7E70D528-15A4-400A-80FB-C8B131FC31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420053"/>
              </p:ext>
            </p:extLst>
          </p:nvPr>
        </p:nvGraphicFramePr>
        <p:xfrm>
          <a:off x="990600" y="19780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959462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54EF857-5F49-4A80-88B3-AC82488E2222}"/>
              </a:ext>
            </a:extLst>
          </p:cNvPr>
          <p:cNvSpPr/>
          <p:nvPr/>
        </p:nvSpPr>
        <p:spPr>
          <a:xfrm rot="5400000">
            <a:off x="1251800" y="337599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949C1B70-5791-48AF-AB19-0A8E8E820A6B}"/>
              </a:ext>
            </a:extLst>
          </p:cNvPr>
          <p:cNvSpPr/>
          <p:nvPr/>
        </p:nvSpPr>
        <p:spPr>
          <a:xfrm rot="10800000">
            <a:off x="2471062" y="562424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E34ABAE1-96DD-4CF9-B6AB-30DD5009EAA9}"/>
              </a:ext>
            </a:extLst>
          </p:cNvPr>
          <p:cNvSpPr/>
          <p:nvPr/>
        </p:nvSpPr>
        <p:spPr>
          <a:xfrm>
            <a:off x="1026975" y="1556674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6A7756EF-A4E6-47C6-835A-35399E381CE3}"/>
              </a:ext>
            </a:extLst>
          </p:cNvPr>
          <p:cNvSpPr/>
          <p:nvPr/>
        </p:nvSpPr>
        <p:spPr>
          <a:xfrm rot="16200000">
            <a:off x="2246237" y="1781499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vert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45" name="Grafik 44" descr="Übertragen">
            <a:extLst>
              <a:ext uri="{FF2B5EF4-FFF2-40B4-BE49-F238E27FC236}">
                <a16:creationId xmlns:a16="http://schemas.microsoft.com/office/drawing/2014/main" id="{13188411-778F-45C6-B24A-F5656FE04B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7303" y="2383424"/>
            <a:ext cx="667720" cy="667720"/>
          </a:xfrm>
          <a:prstGeom prst="rect">
            <a:avLst/>
          </a:prstGeom>
        </p:spPr>
      </p:pic>
      <p:pic>
        <p:nvPicPr>
          <p:cNvPr id="39" name="Grafik 38" descr="Entsperren">
            <a:extLst>
              <a:ext uri="{FF2B5EF4-FFF2-40B4-BE49-F238E27FC236}">
                <a16:creationId xmlns:a16="http://schemas.microsoft.com/office/drawing/2014/main" id="{0497F4F2-4E99-4A0C-9560-8474E790B3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28162" y="1007301"/>
            <a:ext cx="721712" cy="721712"/>
          </a:xfrm>
          <a:prstGeom prst="rect">
            <a:avLst/>
          </a:prstGeom>
        </p:spPr>
      </p:pic>
      <p:pic>
        <p:nvPicPr>
          <p:cNvPr id="43" name="Grafik 42" descr="Recycling-Schild">
            <a:extLst>
              <a:ext uri="{FF2B5EF4-FFF2-40B4-BE49-F238E27FC236}">
                <a16:creationId xmlns:a16="http://schemas.microsoft.com/office/drawing/2014/main" id="{E08D0898-47D6-4F2C-8331-A2C64D6F18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35598" y="2457514"/>
            <a:ext cx="519540" cy="519540"/>
          </a:xfrm>
          <a:prstGeom prst="rect">
            <a:avLst/>
          </a:prstGeom>
        </p:spPr>
      </p:pic>
      <p:pic>
        <p:nvPicPr>
          <p:cNvPr id="37" name="Grafik 36" descr="Lupe">
            <a:extLst>
              <a:ext uri="{FF2B5EF4-FFF2-40B4-BE49-F238E27FC236}">
                <a16:creationId xmlns:a16="http://schemas.microsoft.com/office/drawing/2014/main" id="{4AB3247A-34BC-46F8-B361-3F9F49C4F3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44720" y="1047731"/>
            <a:ext cx="506994" cy="506994"/>
          </a:xfrm>
          <a:prstGeom prst="rect">
            <a:avLst/>
          </a:prstGeom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BEE865C9-32E1-4F57-8B78-B2247BA51485}"/>
              </a:ext>
            </a:extLst>
          </p:cNvPr>
          <p:cNvSpPr txBox="1"/>
          <p:nvPr/>
        </p:nvSpPr>
        <p:spPr>
          <a:xfrm>
            <a:off x="1603463" y="1082370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D3DAD1F3-EC06-4EC6-9EEE-F9FA07CF9A33}"/>
              </a:ext>
            </a:extLst>
          </p:cNvPr>
          <p:cNvSpPr txBox="1"/>
          <p:nvPr/>
        </p:nvSpPr>
        <p:spPr>
          <a:xfrm>
            <a:off x="3034850" y="1082370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A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3A7C55B-0FB7-4017-97BC-B81E0D6BAFFF}"/>
              </a:ext>
            </a:extLst>
          </p:cNvPr>
          <p:cNvSpPr txBox="1"/>
          <p:nvPr/>
        </p:nvSpPr>
        <p:spPr>
          <a:xfrm>
            <a:off x="1626482" y="2538482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F90364D0-7A30-4692-B1D5-FE14EDB67AAC}"/>
              </a:ext>
            </a:extLst>
          </p:cNvPr>
          <p:cNvSpPr txBox="1"/>
          <p:nvPr/>
        </p:nvSpPr>
        <p:spPr>
          <a:xfrm>
            <a:off x="3034850" y="2541657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R</a:t>
            </a:r>
          </a:p>
        </p:txBody>
      </p:sp>
      <p:sp>
        <p:nvSpPr>
          <p:cNvPr id="50" name="Freihandform: Form 49">
            <a:extLst>
              <a:ext uri="{FF2B5EF4-FFF2-40B4-BE49-F238E27FC236}">
                <a16:creationId xmlns:a16="http://schemas.microsoft.com/office/drawing/2014/main" id="{7C2652EE-712E-4BEA-9295-34419F768AA7}"/>
              </a:ext>
            </a:extLst>
          </p:cNvPr>
          <p:cNvSpPr/>
          <p:nvPr/>
        </p:nvSpPr>
        <p:spPr>
          <a:xfrm rot="5400000">
            <a:off x="9431774" y="1764175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1" name="Freihandform: Form 50">
            <a:extLst>
              <a:ext uri="{FF2B5EF4-FFF2-40B4-BE49-F238E27FC236}">
                <a16:creationId xmlns:a16="http://schemas.microsoft.com/office/drawing/2014/main" id="{1442EC82-A584-470E-8E69-19B6F35F3CFA}"/>
              </a:ext>
            </a:extLst>
          </p:cNvPr>
          <p:cNvSpPr/>
          <p:nvPr/>
        </p:nvSpPr>
        <p:spPr>
          <a:xfrm rot="10800000">
            <a:off x="10651036" y="1989000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6550A689-744B-4203-9542-51C6AB1B6AC3}"/>
              </a:ext>
            </a:extLst>
          </p:cNvPr>
          <p:cNvSpPr/>
          <p:nvPr/>
        </p:nvSpPr>
        <p:spPr>
          <a:xfrm>
            <a:off x="9206949" y="2983250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3" name="Freihandform: Form 52">
            <a:extLst>
              <a:ext uri="{FF2B5EF4-FFF2-40B4-BE49-F238E27FC236}">
                <a16:creationId xmlns:a16="http://schemas.microsoft.com/office/drawing/2014/main" id="{36291A3A-3A77-4B07-819A-EB0312453CB8}"/>
              </a:ext>
            </a:extLst>
          </p:cNvPr>
          <p:cNvSpPr/>
          <p:nvPr/>
        </p:nvSpPr>
        <p:spPr>
          <a:xfrm rot="16200000">
            <a:off x="10426211" y="3208075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62" name="Grafik 61" descr="Übertragen">
            <a:extLst>
              <a:ext uri="{FF2B5EF4-FFF2-40B4-BE49-F238E27FC236}">
                <a16:creationId xmlns:a16="http://schemas.microsoft.com/office/drawing/2014/main" id="{577B9D71-4F8F-4EE9-830F-1F85C631662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07330" y="5516839"/>
            <a:ext cx="667720" cy="667720"/>
          </a:xfrm>
          <a:prstGeom prst="rect">
            <a:avLst/>
          </a:prstGeom>
        </p:spPr>
      </p:pic>
      <p:pic>
        <p:nvPicPr>
          <p:cNvPr id="63" name="Grafik 62" descr="Entsperren">
            <a:extLst>
              <a:ext uri="{FF2B5EF4-FFF2-40B4-BE49-F238E27FC236}">
                <a16:creationId xmlns:a16="http://schemas.microsoft.com/office/drawing/2014/main" id="{BD396748-421E-4685-B2E7-5F01FBBF2E4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03987" y="4143235"/>
            <a:ext cx="582816" cy="582816"/>
          </a:xfrm>
          <a:prstGeom prst="rect">
            <a:avLst/>
          </a:prstGeom>
        </p:spPr>
      </p:pic>
      <p:pic>
        <p:nvPicPr>
          <p:cNvPr id="64" name="Grafik 63" descr="Recycling-Schild">
            <a:extLst>
              <a:ext uri="{FF2B5EF4-FFF2-40B4-BE49-F238E27FC236}">
                <a16:creationId xmlns:a16="http://schemas.microsoft.com/office/drawing/2014/main" id="{702D0ED3-765D-4D38-ADCA-26C01ACC26F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835625" y="5590929"/>
            <a:ext cx="519540" cy="519540"/>
          </a:xfrm>
          <a:prstGeom prst="rect">
            <a:avLst/>
          </a:prstGeom>
        </p:spPr>
      </p:pic>
      <p:pic>
        <p:nvPicPr>
          <p:cNvPr id="65" name="Grafik 64" descr="Lupe">
            <a:extLst>
              <a:ext uri="{FF2B5EF4-FFF2-40B4-BE49-F238E27FC236}">
                <a16:creationId xmlns:a16="http://schemas.microsoft.com/office/drawing/2014/main" id="{EA6F15AA-EECC-4E9B-9756-6CE6F26CBC1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444747" y="4181146"/>
            <a:ext cx="506994" cy="506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873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5</Words>
  <Application>Microsoft Office PowerPoint</Application>
  <PresentationFormat>Breitbild</PresentationFormat>
  <Paragraphs>222</Paragraphs>
  <Slides>13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Times New Roman</vt:lpstr>
      <vt:lpstr>Office</vt:lpstr>
      <vt:lpstr>FAIR Sensor Health Monitoring of Flight Test Data</vt:lpstr>
      <vt:lpstr>Strukturierung der Arbeit </vt:lpstr>
      <vt:lpstr>Strukturierung der Arbeit </vt:lpstr>
      <vt:lpstr>Contents</vt:lpstr>
      <vt:lpstr>Intro</vt:lpstr>
      <vt:lpstr>Sensor Health Monitoring between each step. Function fuses Sensors</vt:lpstr>
      <vt:lpstr>PowerPoint-Präsentation</vt:lpstr>
      <vt:lpstr>PowerPoint-Präsentation</vt:lpstr>
      <vt:lpstr>PowerPoint-Präsentation</vt:lpstr>
      <vt:lpstr>PowerPoint-Präsentation</vt:lpstr>
      <vt:lpstr>Theory</vt:lpstr>
      <vt:lpstr>Problem Statemen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IR Sensor Health Monitoring of Flight Test Data</dc:title>
  <dc:creator>Klein, Colin</dc:creator>
  <cp:lastModifiedBy>Klein, Colin</cp:lastModifiedBy>
  <cp:revision>55</cp:revision>
  <cp:lastPrinted>2023-04-11T11:20:00Z</cp:lastPrinted>
  <dcterms:created xsi:type="dcterms:W3CDTF">2023-02-27T05:53:01Z</dcterms:created>
  <dcterms:modified xsi:type="dcterms:W3CDTF">2023-06-08T09:34:16Z</dcterms:modified>
</cp:coreProperties>
</file>